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3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4.xml" ContentType="application/vnd.openxmlformats-officedocument.presentationml.notesSlide+xml"/>
  <Override PartName="/ppt/tags/tag13.xml" ContentType="application/vnd.openxmlformats-officedocument.presentationml.tags+xml"/>
  <Override PartName="/ppt/notesSlides/notesSlide5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6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7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8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45"/>
  </p:notesMasterIdLst>
  <p:sldIdLst>
    <p:sldId id="256" r:id="rId5"/>
    <p:sldId id="285" r:id="rId6"/>
    <p:sldId id="294" r:id="rId7"/>
    <p:sldId id="267" r:id="rId8"/>
    <p:sldId id="314" r:id="rId9"/>
    <p:sldId id="271" r:id="rId10"/>
    <p:sldId id="268" r:id="rId11"/>
    <p:sldId id="287" r:id="rId12"/>
    <p:sldId id="273" r:id="rId13"/>
    <p:sldId id="274" r:id="rId14"/>
    <p:sldId id="293" r:id="rId15"/>
    <p:sldId id="295" r:id="rId16"/>
    <p:sldId id="277" r:id="rId17"/>
    <p:sldId id="259" r:id="rId18"/>
    <p:sldId id="276" r:id="rId19"/>
    <p:sldId id="304" r:id="rId20"/>
    <p:sldId id="306" r:id="rId21"/>
    <p:sldId id="300" r:id="rId22"/>
    <p:sldId id="299" r:id="rId23"/>
    <p:sldId id="298" r:id="rId24"/>
    <p:sldId id="309" r:id="rId25"/>
    <p:sldId id="310" r:id="rId26"/>
    <p:sldId id="262" r:id="rId27"/>
    <p:sldId id="311" r:id="rId28"/>
    <p:sldId id="312" r:id="rId29"/>
    <p:sldId id="260" r:id="rId30"/>
    <p:sldId id="313" r:id="rId31"/>
    <p:sldId id="263" r:id="rId32"/>
    <p:sldId id="286" r:id="rId33"/>
    <p:sldId id="301" r:id="rId34"/>
    <p:sldId id="302" r:id="rId35"/>
    <p:sldId id="315" r:id="rId36"/>
    <p:sldId id="307" r:id="rId37"/>
    <p:sldId id="308" r:id="rId38"/>
    <p:sldId id="257" r:id="rId39"/>
    <p:sldId id="316" r:id="rId40"/>
    <p:sldId id="258" r:id="rId41"/>
    <p:sldId id="290" r:id="rId42"/>
    <p:sldId id="265" r:id="rId43"/>
    <p:sldId id="275" r:id="rId44"/>
  </p:sldIdLst>
  <p:sldSz cx="12192000" cy="6858000"/>
  <p:notesSz cx="6858000" cy="9144000"/>
  <p:custDataLst>
    <p:tags r:id="rId4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Author" initials="A" lastIdx="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D4C94"/>
    <a:srgbClr val="8593A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ADDF83B-BC1C-427E-B398-69A66A75FB58}" v="636" dt="2024-08-29T03:09:17.28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137" autoAdjust="0"/>
    <p:restoredTop sz="92052" autoAdjust="0"/>
  </p:normalViewPr>
  <p:slideViewPr>
    <p:cSldViewPr snapToGrid="0">
      <p:cViewPr varScale="1">
        <p:scale>
          <a:sx n="104" d="100"/>
          <a:sy n="104" d="100"/>
        </p:scale>
        <p:origin x="750" y="12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commentAuthors" Target="commentAuthors.xml"/><Relationship Id="rId50" Type="http://schemas.openxmlformats.org/officeDocument/2006/relationships/theme" Target="theme/theme1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notesMaster" Target="notesMasters/notesMaster1.xml"/><Relationship Id="rId53" Type="http://schemas.microsoft.com/office/2015/10/relationships/revisionInfo" Target="revisionInfo.xml"/><Relationship Id="rId5" Type="http://schemas.openxmlformats.org/officeDocument/2006/relationships/slide" Target="slides/slid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presProps" Target="presProps.xml"/><Relationship Id="rId8" Type="http://schemas.openxmlformats.org/officeDocument/2006/relationships/slide" Target="slides/slide4.xml"/><Relationship Id="rId51" Type="http://schemas.openxmlformats.org/officeDocument/2006/relationships/tableStyles" Target="tableStyles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tags" Target="tags/tag1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ohli, Abhi SIEP-IUV/I/C" userId="8df466d3-0db6-41cc-b122-11a6f246ec8b" providerId="ADAL" clId="{6ADDF83B-BC1C-427E-B398-69A66A75FB58}"/>
    <pc:docChg chg="undo redo custSel addSld delSld modSld sldOrd delMainMaster modMainMaster replTag">
      <pc:chgData name="Kohli, Abhi SIEP-IUV/I/C" userId="8df466d3-0db6-41cc-b122-11a6f246ec8b" providerId="ADAL" clId="{6ADDF83B-BC1C-427E-B398-69A66A75FB58}" dt="2024-08-29T16:56:24.541" v="5970" actId="20577"/>
      <pc:docMkLst>
        <pc:docMk/>
      </pc:docMkLst>
      <pc:sldChg chg="addSp delSp modSp del mod modClrScheme chgLayout">
        <pc:chgData name="Kohli, Abhi SIEP-IUV/I/C" userId="8df466d3-0db6-41cc-b122-11a6f246ec8b" providerId="ADAL" clId="{6ADDF83B-BC1C-427E-B398-69A66A75FB58}" dt="2024-08-26T20:56:02.769" v="3072" actId="2696"/>
        <pc:sldMkLst>
          <pc:docMk/>
          <pc:sldMk cId="118716006" sldId="257"/>
        </pc:sldMkLst>
        <pc:spChg chg="add del mod ord">
          <ac:chgData name="Kohli, Abhi SIEP-IUV/I/C" userId="8df466d3-0db6-41cc-b122-11a6f246ec8b" providerId="ADAL" clId="{6ADDF83B-BC1C-427E-B398-69A66A75FB58}" dt="2024-08-25T20:28:49.514" v="2085" actId="700"/>
          <ac:spMkLst>
            <pc:docMk/>
            <pc:sldMk cId="118716006" sldId="257"/>
            <ac:spMk id="2" creationId="{2AA96B8C-FB6A-EAC1-9E25-1FBDF3B40741}"/>
          </ac:spMkLst>
        </pc:spChg>
        <pc:spChg chg="add del mod ord">
          <ac:chgData name="Kohli, Abhi SIEP-IUV/I/C" userId="8df466d3-0db6-41cc-b122-11a6f246ec8b" providerId="ADAL" clId="{6ADDF83B-BC1C-427E-B398-69A66A75FB58}" dt="2024-08-25T20:28:49.514" v="2085" actId="700"/>
          <ac:spMkLst>
            <pc:docMk/>
            <pc:sldMk cId="118716006" sldId="257"/>
            <ac:spMk id="3" creationId="{CB9DE777-B9FF-1CBE-98B9-5CA7D5FA029A}"/>
          </ac:spMkLst>
        </pc:spChg>
        <pc:spChg chg="add del mod ord">
          <ac:chgData name="Kohli, Abhi SIEP-IUV/I/C" userId="8df466d3-0db6-41cc-b122-11a6f246ec8b" providerId="ADAL" clId="{6ADDF83B-BC1C-427E-B398-69A66A75FB58}" dt="2024-08-25T20:28:49.514" v="2085" actId="700"/>
          <ac:spMkLst>
            <pc:docMk/>
            <pc:sldMk cId="118716006" sldId="257"/>
            <ac:spMk id="4" creationId="{36326FC1-FDCD-F438-5F68-C67FF8384195}"/>
          </ac:spMkLst>
        </pc:spChg>
        <pc:spChg chg="add del mod ord">
          <ac:chgData name="Kohli, Abhi SIEP-IUV/I/C" userId="8df466d3-0db6-41cc-b122-11a6f246ec8b" providerId="ADAL" clId="{6ADDF83B-BC1C-427E-B398-69A66A75FB58}" dt="2024-08-25T20:28:49.514" v="2085" actId="700"/>
          <ac:spMkLst>
            <pc:docMk/>
            <pc:sldMk cId="118716006" sldId="257"/>
            <ac:spMk id="5" creationId="{0C8BAE07-9BDA-B5E8-0E55-CDF00281021E}"/>
          </ac:spMkLst>
        </pc:spChg>
        <pc:spChg chg="del">
          <ac:chgData name="Kohli, Abhi SIEP-IUV/I/C" userId="8df466d3-0db6-41cc-b122-11a6f246ec8b" providerId="ADAL" clId="{6ADDF83B-BC1C-427E-B398-69A66A75FB58}" dt="2024-08-25T20:29:25.074" v="2170" actId="478"/>
          <ac:spMkLst>
            <pc:docMk/>
            <pc:sldMk cId="118716006" sldId="257"/>
            <ac:spMk id="6" creationId="{1DC706F7-0311-9468-BF9A-1767E14C9BE4}"/>
          </ac:spMkLst>
        </pc:spChg>
        <pc:spChg chg="del mod">
          <ac:chgData name="Kohli, Abhi SIEP-IUV/I/C" userId="8df466d3-0db6-41cc-b122-11a6f246ec8b" providerId="ADAL" clId="{6ADDF83B-BC1C-427E-B398-69A66A75FB58}" dt="2024-08-25T20:29:25.074" v="2172"/>
          <ac:spMkLst>
            <pc:docMk/>
            <pc:sldMk cId="118716006" sldId="257"/>
            <ac:spMk id="7" creationId="{2B52037B-4478-0EBF-1BC0-157300E6FFFF}"/>
          </ac:spMkLst>
        </pc:spChg>
        <pc:spChg chg="add del mod ord">
          <ac:chgData name="Kohli, Abhi SIEP-IUV/I/C" userId="8df466d3-0db6-41cc-b122-11a6f246ec8b" providerId="ADAL" clId="{6ADDF83B-BC1C-427E-B398-69A66A75FB58}" dt="2024-08-25T20:28:49.514" v="2085" actId="700"/>
          <ac:spMkLst>
            <pc:docMk/>
            <pc:sldMk cId="118716006" sldId="257"/>
            <ac:spMk id="8" creationId="{C49A337C-81BB-EBE5-454E-892AB1FEA444}"/>
          </ac:spMkLst>
        </pc:spChg>
        <pc:spChg chg="add del mod ord">
          <ac:chgData name="Kohli, Abhi SIEP-IUV/I/C" userId="8df466d3-0db6-41cc-b122-11a6f246ec8b" providerId="ADAL" clId="{6ADDF83B-BC1C-427E-B398-69A66A75FB58}" dt="2024-08-25T20:28:49.514" v="2085" actId="700"/>
          <ac:spMkLst>
            <pc:docMk/>
            <pc:sldMk cId="118716006" sldId="257"/>
            <ac:spMk id="10" creationId="{DA35B6F3-B0B7-149E-5FF8-7FA6E30BDDAE}"/>
          </ac:spMkLst>
        </pc:spChg>
        <pc:spChg chg="add del mod ord">
          <ac:chgData name="Kohli, Abhi SIEP-IUV/I/C" userId="8df466d3-0db6-41cc-b122-11a6f246ec8b" providerId="ADAL" clId="{6ADDF83B-BC1C-427E-B398-69A66A75FB58}" dt="2024-08-25T20:28:49.514" v="2085" actId="700"/>
          <ac:spMkLst>
            <pc:docMk/>
            <pc:sldMk cId="118716006" sldId="257"/>
            <ac:spMk id="11" creationId="{D8C86F01-769F-28AC-DF7F-989A6F7DAECA}"/>
          </ac:spMkLst>
        </pc:spChg>
        <pc:spChg chg="add mod ord">
          <ac:chgData name="Kohli, Abhi SIEP-IUV/I/C" userId="8df466d3-0db6-41cc-b122-11a6f246ec8b" providerId="ADAL" clId="{6ADDF83B-BC1C-427E-B398-69A66A75FB58}" dt="2024-08-25T20:32:36.840" v="2225" actId="948"/>
          <ac:spMkLst>
            <pc:docMk/>
            <pc:sldMk cId="118716006" sldId="257"/>
            <ac:spMk id="12" creationId="{E9A701FF-3DFA-3A0A-5BAB-74604073D2C4}"/>
          </ac:spMkLst>
        </pc:spChg>
        <pc:spChg chg="add del mod ord">
          <ac:chgData name="Kohli, Abhi SIEP-IUV/I/C" userId="8df466d3-0db6-41cc-b122-11a6f246ec8b" providerId="ADAL" clId="{6ADDF83B-BC1C-427E-B398-69A66A75FB58}" dt="2024-08-25T20:28:52.701" v="2103" actId="478"/>
          <ac:spMkLst>
            <pc:docMk/>
            <pc:sldMk cId="118716006" sldId="257"/>
            <ac:spMk id="13" creationId="{9AA8CE00-A695-D2D6-2A8F-D3046532CC09}"/>
          </ac:spMkLst>
        </pc:spChg>
        <pc:spChg chg="add del mod modVis">
          <ac:chgData name="Kohli, Abhi SIEP-IUV/I/C" userId="8df466d3-0db6-41cc-b122-11a6f246ec8b" providerId="ADAL" clId="{6ADDF83B-BC1C-427E-B398-69A66A75FB58}" dt="2024-08-25T20:29:21.276" v="2139"/>
          <ac:spMkLst>
            <pc:docMk/>
            <pc:sldMk cId="118716006" sldId="257"/>
            <ac:spMk id="15" creationId="{616F6109-D693-A5CC-61DC-ADBE37A83E1D}"/>
          </ac:spMkLst>
        </pc:spChg>
        <pc:spChg chg="add del mod modVis">
          <ac:chgData name="Kohli, Abhi SIEP-IUV/I/C" userId="8df466d3-0db6-41cc-b122-11a6f246ec8b" providerId="ADAL" clId="{6ADDF83B-BC1C-427E-B398-69A66A75FB58}" dt="2024-08-25T20:29:24.116" v="2167"/>
          <ac:spMkLst>
            <pc:docMk/>
            <pc:sldMk cId="118716006" sldId="257"/>
            <ac:spMk id="16" creationId="{004E927B-F099-1DD1-2EF5-1FA293C8611A}"/>
          </ac:spMkLst>
        </pc:spChg>
        <pc:spChg chg="add del mod modVis">
          <ac:chgData name="Kohli, Abhi SIEP-IUV/I/C" userId="8df466d3-0db6-41cc-b122-11a6f246ec8b" providerId="ADAL" clId="{6ADDF83B-BC1C-427E-B398-69A66A75FB58}" dt="2024-08-25T20:29:31.822" v="2198"/>
          <ac:spMkLst>
            <pc:docMk/>
            <pc:sldMk cId="118716006" sldId="257"/>
            <ac:spMk id="17" creationId="{FA9FE978-91F6-5137-09E4-F2F97CC2FEE3}"/>
          </ac:spMkLst>
        </pc:spChg>
        <pc:spChg chg="add del mod modVis">
          <ac:chgData name="Kohli, Abhi SIEP-IUV/I/C" userId="8df466d3-0db6-41cc-b122-11a6f246ec8b" providerId="ADAL" clId="{6ADDF83B-BC1C-427E-B398-69A66A75FB58}" dt="2024-08-25T20:32:36.887" v="2249"/>
          <ac:spMkLst>
            <pc:docMk/>
            <pc:sldMk cId="118716006" sldId="257"/>
            <ac:spMk id="18" creationId="{2579A58B-F4F8-EC6F-A5A0-8690077AB76D}"/>
          </ac:spMkLst>
        </pc:spChg>
        <pc:graphicFrameChg chg="mod modGraphic">
          <ac:chgData name="Kohli, Abhi SIEP-IUV/I/C" userId="8df466d3-0db6-41cc-b122-11a6f246ec8b" providerId="ADAL" clId="{6ADDF83B-BC1C-427E-B398-69A66A75FB58}" dt="2024-08-25T21:05:35.999" v="2816" actId="1076"/>
          <ac:graphicFrameMkLst>
            <pc:docMk/>
            <pc:sldMk cId="118716006" sldId="257"/>
            <ac:graphicFrameMk id="9" creationId="{19694FC7-10DA-E763-74C0-B58C2B7E2BF8}"/>
          </ac:graphicFrameMkLst>
        </pc:graphicFrameChg>
        <pc:graphicFrameChg chg="add mod ord modVis replST">
          <ac:chgData name="Kohli, Abhi SIEP-IUV/I/C" userId="8df466d3-0db6-41cc-b122-11a6f246ec8b" providerId="ADAL" clId="{6ADDF83B-BC1C-427E-B398-69A66A75FB58}" dt="2024-08-25T20:32:36.903" v="2251"/>
          <ac:graphicFrameMkLst>
            <pc:docMk/>
            <pc:sldMk cId="118716006" sldId="257"/>
            <ac:graphicFrameMk id="14" creationId="{B04DFD25-9E31-DA56-A3D4-3D4F93B66BEB}"/>
          </ac:graphicFrameMkLst>
        </pc:graphicFrameChg>
        <pc:picChg chg="add mod">
          <ac:chgData name="Kohli, Abhi SIEP-IUV/I/C" userId="8df466d3-0db6-41cc-b122-11a6f246ec8b" providerId="ADAL" clId="{6ADDF83B-BC1C-427E-B398-69A66A75FB58}" dt="2024-08-25T21:05:33.669" v="2815" actId="1076"/>
          <ac:picMkLst>
            <pc:docMk/>
            <pc:sldMk cId="118716006" sldId="257"/>
            <ac:picMk id="1026" creationId="{6F62908B-F752-D556-7F27-F8AA6989410B}"/>
          </ac:picMkLst>
        </pc:picChg>
      </pc:sldChg>
      <pc:sldChg chg="modSp mod">
        <pc:chgData name="Kohli, Abhi SIEP-IUV/I/C" userId="8df466d3-0db6-41cc-b122-11a6f246ec8b" providerId="ADAL" clId="{6ADDF83B-BC1C-427E-B398-69A66A75FB58}" dt="2024-08-28T19:31:40.748" v="4820" actId="313"/>
        <pc:sldMkLst>
          <pc:docMk/>
          <pc:sldMk cId="2340897325" sldId="257"/>
        </pc:sldMkLst>
        <pc:graphicFrameChg chg="modGraphic">
          <ac:chgData name="Kohli, Abhi SIEP-IUV/I/C" userId="8df466d3-0db6-41cc-b122-11a6f246ec8b" providerId="ADAL" clId="{6ADDF83B-BC1C-427E-B398-69A66A75FB58}" dt="2024-08-28T19:31:40.748" v="4820" actId="313"/>
          <ac:graphicFrameMkLst>
            <pc:docMk/>
            <pc:sldMk cId="2340897325" sldId="257"/>
            <ac:graphicFrameMk id="9" creationId="{19694FC7-10DA-E763-74C0-B58C2B7E2BF8}"/>
          </ac:graphicFrameMkLst>
        </pc:graphicFrameChg>
      </pc:sldChg>
      <pc:sldChg chg="addSp delSp modSp del mod modClrScheme chgLayout">
        <pc:chgData name="Kohli, Abhi SIEP-IUV/I/C" userId="8df466d3-0db6-41cc-b122-11a6f246ec8b" providerId="ADAL" clId="{6ADDF83B-BC1C-427E-B398-69A66A75FB58}" dt="2024-08-26T20:56:02.769" v="3072" actId="2696"/>
        <pc:sldMkLst>
          <pc:docMk/>
          <pc:sldMk cId="1561948683" sldId="258"/>
        </pc:sldMkLst>
        <pc:spChg chg="add del mod ord">
          <ac:chgData name="Kohli, Abhi SIEP-IUV/I/C" userId="8df466d3-0db6-41cc-b122-11a6f246ec8b" providerId="ADAL" clId="{6ADDF83B-BC1C-427E-B398-69A66A75FB58}" dt="2024-08-25T20:36:33.998" v="2283" actId="478"/>
          <ac:spMkLst>
            <pc:docMk/>
            <pc:sldMk cId="1561948683" sldId="258"/>
            <ac:spMk id="5" creationId="{622A1459-D260-3173-CA8F-F3A9A92B1933}"/>
          </ac:spMkLst>
        </pc:spChg>
        <pc:spChg chg="del">
          <ac:chgData name="Kohli, Abhi SIEP-IUV/I/C" userId="8df466d3-0db6-41cc-b122-11a6f246ec8b" providerId="ADAL" clId="{6ADDF83B-BC1C-427E-B398-69A66A75FB58}" dt="2024-08-25T20:37:17.523" v="2364" actId="478"/>
          <ac:spMkLst>
            <pc:docMk/>
            <pc:sldMk cId="1561948683" sldId="258"/>
            <ac:spMk id="6" creationId="{1DC706F7-0311-9468-BF9A-1767E14C9BE4}"/>
          </ac:spMkLst>
        </pc:spChg>
        <pc:spChg chg="del mod">
          <ac:chgData name="Kohli, Abhi SIEP-IUV/I/C" userId="8df466d3-0db6-41cc-b122-11a6f246ec8b" providerId="ADAL" clId="{6ADDF83B-BC1C-427E-B398-69A66A75FB58}" dt="2024-08-25T20:37:17.523" v="2366"/>
          <ac:spMkLst>
            <pc:docMk/>
            <pc:sldMk cId="1561948683" sldId="258"/>
            <ac:spMk id="7" creationId="{2B52037B-4478-0EBF-1BC0-157300E6FFFF}"/>
          </ac:spMkLst>
        </pc:spChg>
        <pc:spChg chg="add del mod ord">
          <ac:chgData name="Kohli, Abhi SIEP-IUV/I/C" userId="8df466d3-0db6-41cc-b122-11a6f246ec8b" providerId="ADAL" clId="{6ADDF83B-BC1C-427E-B398-69A66A75FB58}" dt="2024-08-25T20:36:31.356" v="2282" actId="478"/>
          <ac:spMkLst>
            <pc:docMk/>
            <pc:sldMk cId="1561948683" sldId="258"/>
            <ac:spMk id="8" creationId="{F6DC9CE6-B92A-EC4D-354C-3C1CC04626D3}"/>
          </ac:spMkLst>
        </pc:spChg>
        <pc:spChg chg="add mod">
          <ac:chgData name="Kohli, Abhi SIEP-IUV/I/C" userId="8df466d3-0db6-41cc-b122-11a6f246ec8b" providerId="ADAL" clId="{6ADDF83B-BC1C-427E-B398-69A66A75FB58}" dt="2024-08-25T21:05:24.699" v="2785" actId="948"/>
          <ac:spMkLst>
            <pc:docMk/>
            <pc:sldMk cId="1561948683" sldId="258"/>
            <ac:spMk id="11" creationId="{E7C2766E-62DF-A778-52AA-BE51F0E39D5E}"/>
          </ac:spMkLst>
        </pc:spChg>
        <pc:spChg chg="add del mod modVis">
          <ac:chgData name="Kohli, Abhi SIEP-IUV/I/C" userId="8df466d3-0db6-41cc-b122-11a6f246ec8b" providerId="ADAL" clId="{6ADDF83B-BC1C-427E-B398-69A66A75FB58}" dt="2024-08-25T20:37:03.607" v="2332"/>
          <ac:spMkLst>
            <pc:docMk/>
            <pc:sldMk cId="1561948683" sldId="258"/>
            <ac:spMk id="12" creationId="{9AC0E091-4985-0182-3AD7-7704778FF503}"/>
          </ac:spMkLst>
        </pc:spChg>
        <pc:spChg chg="add del mod modVis">
          <ac:chgData name="Kohli, Abhi SIEP-IUV/I/C" userId="8df466d3-0db6-41cc-b122-11a6f246ec8b" providerId="ADAL" clId="{6ADDF83B-BC1C-427E-B398-69A66A75FB58}" dt="2024-08-25T20:37:13.389" v="2361"/>
          <ac:spMkLst>
            <pc:docMk/>
            <pc:sldMk cId="1561948683" sldId="258"/>
            <ac:spMk id="13" creationId="{F1764076-62CB-DBA6-D364-86B0C665BC3D}"/>
          </ac:spMkLst>
        </pc:spChg>
        <pc:spChg chg="add del mod modVis">
          <ac:chgData name="Kohli, Abhi SIEP-IUV/I/C" userId="8df466d3-0db6-41cc-b122-11a6f246ec8b" providerId="ADAL" clId="{6ADDF83B-BC1C-427E-B398-69A66A75FB58}" dt="2024-08-25T20:37:21.341" v="2392"/>
          <ac:spMkLst>
            <pc:docMk/>
            <pc:sldMk cId="1561948683" sldId="258"/>
            <ac:spMk id="14" creationId="{BB199AF3-FFE2-7360-C74D-3A5C2F238645}"/>
          </ac:spMkLst>
        </pc:spChg>
        <pc:spChg chg="add del mod modVis">
          <ac:chgData name="Kohli, Abhi SIEP-IUV/I/C" userId="8df466d3-0db6-41cc-b122-11a6f246ec8b" providerId="ADAL" clId="{6ADDF83B-BC1C-427E-B398-69A66A75FB58}" dt="2024-08-25T20:37:27.216" v="2420"/>
          <ac:spMkLst>
            <pc:docMk/>
            <pc:sldMk cId="1561948683" sldId="258"/>
            <ac:spMk id="15" creationId="{1B1F0BC9-A8C3-1BDB-BF55-E4A6B1C06338}"/>
          </ac:spMkLst>
        </pc:spChg>
        <pc:spChg chg="add del mod modVis">
          <ac:chgData name="Kohli, Abhi SIEP-IUV/I/C" userId="8df466d3-0db6-41cc-b122-11a6f246ec8b" providerId="ADAL" clId="{6ADDF83B-BC1C-427E-B398-69A66A75FB58}" dt="2024-08-25T20:37:28.997" v="2448"/>
          <ac:spMkLst>
            <pc:docMk/>
            <pc:sldMk cId="1561948683" sldId="258"/>
            <ac:spMk id="16" creationId="{8E0B95C8-8327-8D3E-63C3-571F40848957}"/>
          </ac:spMkLst>
        </pc:spChg>
        <pc:spChg chg="add del mod modVis">
          <ac:chgData name="Kohli, Abhi SIEP-IUV/I/C" userId="8df466d3-0db6-41cc-b122-11a6f246ec8b" providerId="ADAL" clId="{6ADDF83B-BC1C-427E-B398-69A66A75FB58}" dt="2024-08-25T20:37:30.064" v="2476"/>
          <ac:spMkLst>
            <pc:docMk/>
            <pc:sldMk cId="1561948683" sldId="258"/>
            <ac:spMk id="17" creationId="{FB23F9D1-F4EA-6290-2D7E-D6282959DDEF}"/>
          </ac:spMkLst>
        </pc:spChg>
        <pc:spChg chg="add del mod modVis">
          <ac:chgData name="Kohli, Abhi SIEP-IUV/I/C" userId="8df466d3-0db6-41cc-b122-11a6f246ec8b" providerId="ADAL" clId="{6ADDF83B-BC1C-427E-B398-69A66A75FB58}" dt="2024-08-25T21:05:15.884" v="2711"/>
          <ac:spMkLst>
            <pc:docMk/>
            <pc:sldMk cId="1561948683" sldId="258"/>
            <ac:spMk id="20" creationId="{A1724953-88D0-6B6E-740F-6A26E7243D56}"/>
          </ac:spMkLst>
        </pc:spChg>
        <pc:spChg chg="add del mod modVis">
          <ac:chgData name="Kohli, Abhi SIEP-IUV/I/C" userId="8df466d3-0db6-41cc-b122-11a6f246ec8b" providerId="ADAL" clId="{6ADDF83B-BC1C-427E-B398-69A66A75FB58}" dt="2024-08-25T21:05:18.418" v="2745"/>
          <ac:spMkLst>
            <pc:docMk/>
            <pc:sldMk cId="1561948683" sldId="258"/>
            <ac:spMk id="21" creationId="{5FFB1A24-E525-0405-B8DE-306FCDD5B368}"/>
          </ac:spMkLst>
        </pc:spChg>
        <pc:spChg chg="add del mod modVis">
          <ac:chgData name="Kohli, Abhi SIEP-IUV/I/C" userId="8df466d3-0db6-41cc-b122-11a6f246ec8b" providerId="ADAL" clId="{6ADDF83B-BC1C-427E-B398-69A66A75FB58}" dt="2024-08-25T21:05:20.996" v="2781"/>
          <ac:spMkLst>
            <pc:docMk/>
            <pc:sldMk cId="1561948683" sldId="258"/>
            <ac:spMk id="22" creationId="{808BFA5D-930B-F18B-9D92-5E38EF2CA709}"/>
          </ac:spMkLst>
        </pc:spChg>
        <pc:spChg chg="add del mod modVis">
          <ac:chgData name="Kohli, Abhi SIEP-IUV/I/C" userId="8df466d3-0db6-41cc-b122-11a6f246ec8b" providerId="ADAL" clId="{6ADDF83B-BC1C-427E-B398-69A66A75FB58}" dt="2024-08-25T21:05:24.751" v="2809"/>
          <ac:spMkLst>
            <pc:docMk/>
            <pc:sldMk cId="1561948683" sldId="258"/>
            <ac:spMk id="23" creationId="{4813E728-3FA0-3277-FE16-588A9832C559}"/>
          </ac:spMkLst>
        </pc:spChg>
        <pc:graphicFrameChg chg="mod modGraphic">
          <ac:chgData name="Kohli, Abhi SIEP-IUV/I/C" userId="8df466d3-0db6-41cc-b122-11a6f246ec8b" providerId="ADAL" clId="{6ADDF83B-BC1C-427E-B398-69A66A75FB58}" dt="2024-08-25T21:05:12.035" v="2685" actId="20577"/>
          <ac:graphicFrameMkLst>
            <pc:docMk/>
            <pc:sldMk cId="1561948683" sldId="258"/>
            <ac:graphicFrameMk id="9" creationId="{19694FC7-10DA-E763-74C0-B58C2B7E2BF8}"/>
          </ac:graphicFrameMkLst>
        </pc:graphicFrameChg>
        <pc:graphicFrameChg chg="add mod ord modVis replST">
          <ac:chgData name="Kohli, Abhi SIEP-IUV/I/C" userId="8df466d3-0db6-41cc-b122-11a6f246ec8b" providerId="ADAL" clId="{6ADDF83B-BC1C-427E-B398-69A66A75FB58}" dt="2024-08-25T21:05:24.757" v="2811"/>
          <ac:graphicFrameMkLst>
            <pc:docMk/>
            <pc:sldMk cId="1561948683" sldId="258"/>
            <ac:graphicFrameMk id="10" creationId="{A96F1BA0-76C1-CFE9-57B1-8175E915F703}"/>
          </ac:graphicFrameMkLst>
        </pc:graphicFrameChg>
        <pc:picChg chg="mod modCrop">
          <ac:chgData name="Kohli, Abhi SIEP-IUV/I/C" userId="8df466d3-0db6-41cc-b122-11a6f246ec8b" providerId="ADAL" clId="{6ADDF83B-BC1C-427E-B398-69A66A75FB58}" dt="2024-08-25T20:36:56.201" v="2306" actId="14100"/>
          <ac:picMkLst>
            <pc:docMk/>
            <pc:sldMk cId="1561948683" sldId="258"/>
            <ac:picMk id="3" creationId="{DEFD93ED-AF58-06D3-B71F-EFD0DA3348F9}"/>
          </ac:picMkLst>
        </pc:picChg>
        <pc:picChg chg="add del mod modCrop">
          <ac:chgData name="Kohli, Abhi SIEP-IUV/I/C" userId="8df466d3-0db6-41cc-b122-11a6f246ec8b" providerId="ADAL" clId="{6ADDF83B-BC1C-427E-B398-69A66A75FB58}" dt="2024-08-25T20:38:19.310" v="2486" actId="478"/>
          <ac:picMkLst>
            <pc:docMk/>
            <pc:sldMk cId="1561948683" sldId="258"/>
            <ac:picMk id="4" creationId="{2E24B80A-39E6-6626-72A0-3C67EA5221BF}"/>
          </ac:picMkLst>
        </pc:picChg>
        <pc:picChg chg="add mod modCrop">
          <ac:chgData name="Kohli, Abhi SIEP-IUV/I/C" userId="8df466d3-0db6-41cc-b122-11a6f246ec8b" providerId="ADAL" clId="{6ADDF83B-BC1C-427E-B398-69A66A75FB58}" dt="2024-08-25T20:38:17.576" v="2485" actId="1076"/>
          <ac:picMkLst>
            <pc:docMk/>
            <pc:sldMk cId="1561948683" sldId="258"/>
            <ac:picMk id="19" creationId="{6B1A8900-3945-4475-8ADB-940218BA0E0C}"/>
          </ac:picMkLst>
        </pc:picChg>
      </pc:sldChg>
      <pc:sldChg chg="addSp delSp modSp mod">
        <pc:chgData name="Kohli, Abhi SIEP-IUV/I/C" userId="8df466d3-0db6-41cc-b122-11a6f246ec8b" providerId="ADAL" clId="{6ADDF83B-BC1C-427E-B398-69A66A75FB58}" dt="2024-08-18T17:14:17.150" v="449" actId="20577"/>
        <pc:sldMkLst>
          <pc:docMk/>
          <pc:sldMk cId="3446797337" sldId="259"/>
        </pc:sldMkLst>
        <pc:spChg chg="mod">
          <ac:chgData name="Kohli, Abhi SIEP-IUV/I/C" userId="8df466d3-0db6-41cc-b122-11a6f246ec8b" providerId="ADAL" clId="{6ADDF83B-BC1C-427E-B398-69A66A75FB58}" dt="2024-08-18T17:14:12.191" v="419" actId="948"/>
          <ac:spMkLst>
            <pc:docMk/>
            <pc:sldMk cId="3446797337" sldId="259"/>
            <ac:spMk id="2" creationId="{8460295B-54B9-4937-90E3-BAB9CE69E30B}"/>
          </ac:spMkLst>
        </pc:spChg>
        <pc:spChg chg="add del mod modVis">
          <ac:chgData name="Kohli, Abhi SIEP-IUV/I/C" userId="8df466d3-0db6-41cc-b122-11a6f246ec8b" providerId="ADAL" clId="{6ADDF83B-BC1C-427E-B398-69A66A75FB58}" dt="2024-08-18T17:14:03.765" v="257"/>
          <ac:spMkLst>
            <pc:docMk/>
            <pc:sldMk cId="3446797337" sldId="259"/>
            <ac:spMk id="3" creationId="{4ACA439C-0511-D060-0886-DA944290B2FA}"/>
          </ac:spMkLst>
        </pc:spChg>
        <pc:spChg chg="mod">
          <ac:chgData name="Kohli, Abhi SIEP-IUV/I/C" userId="8df466d3-0db6-41cc-b122-11a6f246ec8b" providerId="ADAL" clId="{6ADDF83B-BC1C-427E-B398-69A66A75FB58}" dt="2024-08-18T17:14:17.150" v="449" actId="20577"/>
          <ac:spMkLst>
            <pc:docMk/>
            <pc:sldMk cId="3446797337" sldId="259"/>
            <ac:spMk id="4" creationId="{D51A6D85-3837-435F-A342-5A3F98172B12}"/>
          </ac:spMkLst>
        </pc:spChg>
        <pc:spChg chg="add del mod modVis">
          <ac:chgData name="Kohli, Abhi SIEP-IUV/I/C" userId="8df466d3-0db6-41cc-b122-11a6f246ec8b" providerId="ADAL" clId="{6ADDF83B-BC1C-427E-B398-69A66A75FB58}" dt="2024-08-18T17:14:04.706" v="298"/>
          <ac:spMkLst>
            <pc:docMk/>
            <pc:sldMk cId="3446797337" sldId="259"/>
            <ac:spMk id="6" creationId="{0966FDF2-2EB4-E20D-1D70-05FE624C38BB}"/>
          </ac:spMkLst>
        </pc:spChg>
        <pc:spChg chg="add del mod modVis">
          <ac:chgData name="Kohli, Abhi SIEP-IUV/I/C" userId="8df466d3-0db6-41cc-b122-11a6f246ec8b" providerId="ADAL" clId="{6ADDF83B-BC1C-427E-B398-69A66A75FB58}" dt="2024-08-18T17:14:07.170" v="326"/>
          <ac:spMkLst>
            <pc:docMk/>
            <pc:sldMk cId="3446797337" sldId="259"/>
            <ac:spMk id="7" creationId="{C6BA92FA-5325-93A6-416A-75C8EE412435}"/>
          </ac:spMkLst>
        </pc:spChg>
        <pc:spChg chg="add del mod modVis">
          <ac:chgData name="Kohli, Abhi SIEP-IUV/I/C" userId="8df466d3-0db6-41cc-b122-11a6f246ec8b" providerId="ADAL" clId="{6ADDF83B-BC1C-427E-B398-69A66A75FB58}" dt="2024-08-18T17:14:07.970" v="354"/>
          <ac:spMkLst>
            <pc:docMk/>
            <pc:sldMk cId="3446797337" sldId="259"/>
            <ac:spMk id="8" creationId="{77B2E017-3A47-40B1-FF53-A428CB1EB8A7}"/>
          </ac:spMkLst>
        </pc:spChg>
        <pc:spChg chg="add del mod modVis">
          <ac:chgData name="Kohli, Abhi SIEP-IUV/I/C" userId="8df466d3-0db6-41cc-b122-11a6f246ec8b" providerId="ADAL" clId="{6ADDF83B-BC1C-427E-B398-69A66A75FB58}" dt="2024-08-18T17:14:08.785" v="383"/>
          <ac:spMkLst>
            <pc:docMk/>
            <pc:sldMk cId="3446797337" sldId="259"/>
            <ac:spMk id="9" creationId="{665A2936-2BC3-6FA2-94CC-C861C33F6D97}"/>
          </ac:spMkLst>
        </pc:spChg>
        <pc:spChg chg="add del mod modVis">
          <ac:chgData name="Kohli, Abhi SIEP-IUV/I/C" userId="8df466d3-0db6-41cc-b122-11a6f246ec8b" providerId="ADAL" clId="{6ADDF83B-BC1C-427E-B398-69A66A75FB58}" dt="2024-08-18T17:14:11.312" v="414"/>
          <ac:spMkLst>
            <pc:docMk/>
            <pc:sldMk cId="3446797337" sldId="259"/>
            <ac:spMk id="10" creationId="{1EBEDE8E-8D4A-B678-CA30-07CF6BB3D703}"/>
          </ac:spMkLst>
        </pc:spChg>
        <pc:spChg chg="add del mod modVis">
          <ac:chgData name="Kohli, Abhi SIEP-IUV/I/C" userId="8df466d3-0db6-41cc-b122-11a6f246ec8b" providerId="ADAL" clId="{6ADDF83B-BC1C-427E-B398-69A66A75FB58}" dt="2024-08-18T17:14:12.238" v="443"/>
          <ac:spMkLst>
            <pc:docMk/>
            <pc:sldMk cId="3446797337" sldId="259"/>
            <ac:spMk id="11" creationId="{764C5998-76B1-656E-7000-93F9E43C21FB}"/>
          </ac:spMkLst>
        </pc:spChg>
        <pc:graphicFrameChg chg="add mod ord modVis replST">
          <ac:chgData name="Kohli, Abhi SIEP-IUV/I/C" userId="8df466d3-0db6-41cc-b122-11a6f246ec8b" providerId="ADAL" clId="{6ADDF83B-BC1C-427E-B398-69A66A75FB58}" dt="2024-08-18T17:14:12.254" v="445"/>
          <ac:graphicFrameMkLst>
            <pc:docMk/>
            <pc:sldMk cId="3446797337" sldId="259"/>
            <ac:graphicFrameMk id="5" creationId="{790AF8D5-F2AF-E397-CC8F-A553BC3EE61D}"/>
          </ac:graphicFrameMkLst>
        </pc:graphicFrameChg>
      </pc:sldChg>
      <pc:sldChg chg="modSp mod">
        <pc:chgData name="Kohli, Abhi SIEP-IUV/I/C" userId="8df466d3-0db6-41cc-b122-11a6f246ec8b" providerId="ADAL" clId="{6ADDF83B-BC1C-427E-B398-69A66A75FB58}" dt="2024-08-26T22:00:35.370" v="3090" actId="14734"/>
        <pc:sldMkLst>
          <pc:docMk/>
          <pc:sldMk cId="1222791543" sldId="262"/>
        </pc:sldMkLst>
        <pc:graphicFrameChg chg="modGraphic">
          <ac:chgData name="Kohli, Abhi SIEP-IUV/I/C" userId="8df466d3-0db6-41cc-b122-11a6f246ec8b" providerId="ADAL" clId="{6ADDF83B-BC1C-427E-B398-69A66A75FB58}" dt="2024-08-26T22:00:35.370" v="3090" actId="14734"/>
          <ac:graphicFrameMkLst>
            <pc:docMk/>
            <pc:sldMk cId="1222791543" sldId="262"/>
            <ac:graphicFrameMk id="9" creationId="{1AE64982-8E70-00CD-DFF9-D627A662C5DB}"/>
          </ac:graphicFrameMkLst>
        </pc:graphicFrameChg>
      </pc:sldChg>
      <pc:sldChg chg="modSp mod">
        <pc:chgData name="Kohli, Abhi SIEP-IUV/I/C" userId="8df466d3-0db6-41cc-b122-11a6f246ec8b" providerId="ADAL" clId="{6ADDF83B-BC1C-427E-B398-69A66A75FB58}" dt="2024-08-27T21:12:00.287" v="4381" actId="1076"/>
        <pc:sldMkLst>
          <pc:docMk/>
          <pc:sldMk cId="242437402" sldId="263"/>
        </pc:sldMkLst>
        <pc:picChg chg="mod">
          <ac:chgData name="Kohli, Abhi SIEP-IUV/I/C" userId="8df466d3-0db6-41cc-b122-11a6f246ec8b" providerId="ADAL" clId="{6ADDF83B-BC1C-427E-B398-69A66A75FB58}" dt="2024-08-27T21:12:00.287" v="4381" actId="1076"/>
          <ac:picMkLst>
            <pc:docMk/>
            <pc:sldMk cId="242437402" sldId="263"/>
            <ac:picMk id="11" creationId="{D529FDAE-5B1F-9251-BB15-64D4637D1172}"/>
          </ac:picMkLst>
        </pc:picChg>
      </pc:sldChg>
      <pc:sldChg chg="addSp modSp mod">
        <pc:chgData name="Kohli, Abhi SIEP-IUV/I/C" userId="8df466d3-0db6-41cc-b122-11a6f246ec8b" providerId="ADAL" clId="{6ADDF83B-BC1C-427E-B398-69A66A75FB58}" dt="2024-08-28T19:55:09.503" v="4854" actId="1076"/>
        <pc:sldMkLst>
          <pc:docMk/>
          <pc:sldMk cId="1295204830" sldId="265"/>
        </pc:sldMkLst>
        <pc:spChg chg="mod">
          <ac:chgData name="Kohli, Abhi SIEP-IUV/I/C" userId="8df466d3-0db6-41cc-b122-11a6f246ec8b" providerId="ADAL" clId="{6ADDF83B-BC1C-427E-B398-69A66A75FB58}" dt="2024-08-28T19:52:02.281" v="4823" actId="207"/>
          <ac:spMkLst>
            <pc:docMk/>
            <pc:sldMk cId="1295204830" sldId="265"/>
            <ac:spMk id="7" creationId="{4AF37EE6-DF3B-6A10-F653-FCC3DF73BFF1}"/>
          </ac:spMkLst>
        </pc:spChg>
        <pc:spChg chg="add mod">
          <ac:chgData name="Kohli, Abhi SIEP-IUV/I/C" userId="8df466d3-0db6-41cc-b122-11a6f246ec8b" providerId="ADAL" clId="{6ADDF83B-BC1C-427E-B398-69A66A75FB58}" dt="2024-08-28T19:55:09.503" v="4854" actId="1076"/>
          <ac:spMkLst>
            <pc:docMk/>
            <pc:sldMk cId="1295204830" sldId="265"/>
            <ac:spMk id="8" creationId="{FAA97F84-6C4D-104C-419E-3C2520DF2682}"/>
          </ac:spMkLst>
        </pc:spChg>
        <pc:picChg chg="mod">
          <ac:chgData name="Kohli, Abhi SIEP-IUV/I/C" userId="8df466d3-0db6-41cc-b122-11a6f246ec8b" providerId="ADAL" clId="{6ADDF83B-BC1C-427E-B398-69A66A75FB58}" dt="2024-08-28T19:54:45.511" v="4847" actId="14100"/>
          <ac:picMkLst>
            <pc:docMk/>
            <pc:sldMk cId="1295204830" sldId="265"/>
            <ac:picMk id="4" creationId="{86F02A75-8836-44DA-9096-822E23DDDDA9}"/>
          </ac:picMkLst>
        </pc:picChg>
        <pc:picChg chg="add mod">
          <ac:chgData name="Kohli, Abhi SIEP-IUV/I/C" userId="8df466d3-0db6-41cc-b122-11a6f246ec8b" providerId="ADAL" clId="{6ADDF83B-BC1C-427E-B398-69A66A75FB58}" dt="2024-08-28T19:54:59.520" v="4853" actId="1036"/>
          <ac:picMkLst>
            <pc:docMk/>
            <pc:sldMk cId="1295204830" sldId="265"/>
            <ac:picMk id="6" creationId="{CCCFFD97-1A20-D5AA-CECC-0416722D723A}"/>
          </ac:picMkLst>
        </pc:picChg>
      </pc:sldChg>
      <pc:sldChg chg="addSp modSp mod">
        <pc:chgData name="Kohli, Abhi SIEP-IUV/I/C" userId="8df466d3-0db6-41cc-b122-11a6f246ec8b" providerId="ADAL" clId="{6ADDF83B-BC1C-427E-B398-69A66A75FB58}" dt="2024-08-19T22:22:54.601" v="550" actId="1076"/>
        <pc:sldMkLst>
          <pc:docMk/>
          <pc:sldMk cId="1397114174" sldId="267"/>
        </pc:sldMkLst>
        <pc:spChg chg="add mod">
          <ac:chgData name="Kohli, Abhi SIEP-IUV/I/C" userId="8df466d3-0db6-41cc-b122-11a6f246ec8b" providerId="ADAL" clId="{6ADDF83B-BC1C-427E-B398-69A66A75FB58}" dt="2024-08-16T16:52:02.622" v="25"/>
          <ac:spMkLst>
            <pc:docMk/>
            <pc:sldMk cId="1397114174" sldId="267"/>
            <ac:spMk id="5" creationId="{02105DAA-8D98-86A8-BC00-248BF30DD420}"/>
          </ac:spMkLst>
        </pc:spChg>
        <pc:spChg chg="add mod">
          <ac:chgData name="Kohli, Abhi SIEP-IUV/I/C" userId="8df466d3-0db6-41cc-b122-11a6f246ec8b" providerId="ADAL" clId="{6ADDF83B-BC1C-427E-B398-69A66A75FB58}" dt="2024-08-16T16:52:08.978" v="26"/>
          <ac:spMkLst>
            <pc:docMk/>
            <pc:sldMk cId="1397114174" sldId="267"/>
            <ac:spMk id="6" creationId="{58541C6F-65BB-4C37-4CC0-D27D6ED19C72}"/>
          </ac:spMkLst>
        </pc:spChg>
        <pc:picChg chg="mod">
          <ac:chgData name="Kohli, Abhi SIEP-IUV/I/C" userId="8df466d3-0db6-41cc-b122-11a6f246ec8b" providerId="ADAL" clId="{6ADDF83B-BC1C-427E-B398-69A66A75FB58}" dt="2024-08-19T22:22:54.601" v="550" actId="1076"/>
          <ac:picMkLst>
            <pc:docMk/>
            <pc:sldMk cId="1397114174" sldId="267"/>
            <ac:picMk id="3" creationId="{6D93BEFB-3A28-9542-5D8D-CC67C265C5FB}"/>
          </ac:picMkLst>
        </pc:picChg>
      </pc:sldChg>
      <pc:sldChg chg="modSp mod">
        <pc:chgData name="Kohli, Abhi SIEP-IUV/I/C" userId="8df466d3-0db6-41cc-b122-11a6f246ec8b" providerId="ADAL" clId="{6ADDF83B-BC1C-427E-B398-69A66A75FB58}" dt="2024-08-28T19:29:32.606" v="4816" actId="1076"/>
        <pc:sldMkLst>
          <pc:docMk/>
          <pc:sldMk cId="0" sldId="268"/>
        </pc:sldMkLst>
        <pc:picChg chg="mod">
          <ac:chgData name="Kohli, Abhi SIEP-IUV/I/C" userId="8df466d3-0db6-41cc-b122-11a6f246ec8b" providerId="ADAL" clId="{6ADDF83B-BC1C-427E-B398-69A66A75FB58}" dt="2024-08-28T19:29:32.606" v="4816" actId="1076"/>
          <ac:picMkLst>
            <pc:docMk/>
            <pc:sldMk cId="0" sldId="268"/>
            <ac:picMk id="327" creationId="{00000000-0000-0000-0000-000000000000}"/>
          </ac:picMkLst>
        </pc:picChg>
      </pc:sldChg>
      <pc:sldChg chg="modSp del mod">
        <pc:chgData name="Kohli, Abhi SIEP-IUV/I/C" userId="8df466d3-0db6-41cc-b122-11a6f246ec8b" providerId="ADAL" clId="{6ADDF83B-BC1C-427E-B398-69A66A75FB58}" dt="2024-08-28T19:26:23.711" v="4761" actId="2696"/>
        <pc:sldMkLst>
          <pc:docMk/>
          <pc:sldMk cId="579901426" sldId="269"/>
        </pc:sldMkLst>
        <pc:picChg chg="mod">
          <ac:chgData name="Kohli, Abhi SIEP-IUV/I/C" userId="8df466d3-0db6-41cc-b122-11a6f246ec8b" providerId="ADAL" clId="{6ADDF83B-BC1C-427E-B398-69A66A75FB58}" dt="2024-08-28T19:26:16.111" v="4760" actId="1076"/>
          <ac:picMkLst>
            <pc:docMk/>
            <pc:sldMk cId="579901426" sldId="269"/>
            <ac:picMk id="5" creationId="{C2068BCF-C956-4536-9AB7-EC57E1D5396A}"/>
          </ac:picMkLst>
        </pc:picChg>
      </pc:sldChg>
      <pc:sldChg chg="modSp mod ord">
        <pc:chgData name="Kohli, Abhi SIEP-IUV/I/C" userId="8df466d3-0db6-41cc-b122-11a6f246ec8b" providerId="ADAL" clId="{6ADDF83B-BC1C-427E-B398-69A66A75FB58}" dt="2024-08-28T19:31:23.027" v="4819"/>
        <pc:sldMkLst>
          <pc:docMk/>
          <pc:sldMk cId="2375462093" sldId="269"/>
        </pc:sldMkLst>
        <pc:picChg chg="mod">
          <ac:chgData name="Kohli, Abhi SIEP-IUV/I/C" userId="8df466d3-0db6-41cc-b122-11a6f246ec8b" providerId="ADAL" clId="{6ADDF83B-BC1C-427E-B398-69A66A75FB58}" dt="2024-08-28T19:31:19.644" v="4817" actId="1076"/>
          <ac:picMkLst>
            <pc:docMk/>
            <pc:sldMk cId="2375462093" sldId="269"/>
            <ac:picMk id="5" creationId="{C2068BCF-C956-4536-9AB7-EC57E1D5396A}"/>
          </ac:picMkLst>
        </pc:picChg>
      </pc:sldChg>
      <pc:sldChg chg="addSp delSp modSp mod ord">
        <pc:chgData name="Kohli, Abhi SIEP-IUV/I/C" userId="8df466d3-0db6-41cc-b122-11a6f246ec8b" providerId="ADAL" clId="{6ADDF83B-BC1C-427E-B398-69A66A75FB58}" dt="2024-08-28T19:29:14.710" v="4813" actId="1076"/>
        <pc:sldMkLst>
          <pc:docMk/>
          <pc:sldMk cId="1107526439" sldId="271"/>
        </pc:sldMkLst>
        <pc:spChg chg="add mod">
          <ac:chgData name="Kohli, Abhi SIEP-IUV/I/C" userId="8df466d3-0db6-41cc-b122-11a6f246ec8b" providerId="ADAL" clId="{6ADDF83B-BC1C-427E-B398-69A66A75FB58}" dt="2024-08-28T19:29:14.710" v="4813" actId="1076"/>
          <ac:spMkLst>
            <pc:docMk/>
            <pc:sldMk cId="1107526439" sldId="271"/>
            <ac:spMk id="5" creationId="{12F30A55-8C77-E5E2-25D3-3D83B62B88BC}"/>
          </ac:spMkLst>
        </pc:spChg>
        <pc:picChg chg="add del mod">
          <ac:chgData name="Kohli, Abhi SIEP-IUV/I/C" userId="8df466d3-0db6-41cc-b122-11a6f246ec8b" providerId="ADAL" clId="{6ADDF83B-BC1C-427E-B398-69A66A75FB58}" dt="2024-08-28T19:24:20.100" v="4737" actId="21"/>
          <ac:picMkLst>
            <pc:docMk/>
            <pc:sldMk cId="1107526439" sldId="271"/>
            <ac:picMk id="2" creationId="{A2E33C80-08F6-F9D9-7AB2-396769EE4F43}"/>
          </ac:picMkLst>
        </pc:picChg>
      </pc:sldChg>
      <pc:sldChg chg="addSp delSp modSp del mod ord modClrScheme chgLayout">
        <pc:chgData name="Kohli, Abhi SIEP-IUV/I/C" userId="8df466d3-0db6-41cc-b122-11a6f246ec8b" providerId="ADAL" clId="{6ADDF83B-BC1C-427E-B398-69A66A75FB58}" dt="2024-08-27T20:59:21.901" v="4177"/>
        <pc:sldMkLst>
          <pc:docMk/>
          <pc:sldMk cId="2795715730" sldId="273"/>
        </pc:sldMkLst>
        <pc:spChg chg="mod ord">
          <ac:chgData name="Kohli, Abhi SIEP-IUV/I/C" userId="8df466d3-0db6-41cc-b122-11a6f246ec8b" providerId="ADAL" clId="{6ADDF83B-BC1C-427E-B398-69A66A75FB58}" dt="2024-08-27T15:26:59.115" v="3731" actId="948"/>
          <ac:spMkLst>
            <pc:docMk/>
            <pc:sldMk cId="2795715730" sldId="273"/>
            <ac:spMk id="2" creationId="{81A1B88B-3C81-3C9E-5C52-F277E04E78F5}"/>
          </ac:spMkLst>
        </pc:spChg>
        <pc:spChg chg="del">
          <ac:chgData name="Kohli, Abhi SIEP-IUV/I/C" userId="8df466d3-0db6-41cc-b122-11a6f246ec8b" providerId="ADAL" clId="{6ADDF83B-BC1C-427E-B398-69A66A75FB58}" dt="2024-08-27T15:26:42.658" v="3617" actId="478"/>
          <ac:spMkLst>
            <pc:docMk/>
            <pc:sldMk cId="2795715730" sldId="273"/>
            <ac:spMk id="3" creationId="{F101F4F0-A834-085B-2DEB-BD55D5B2EEF8}"/>
          </ac:spMkLst>
        </pc:spChg>
        <pc:spChg chg="add mod ord">
          <ac:chgData name="Kohli, Abhi SIEP-IUV/I/C" userId="8df466d3-0db6-41cc-b122-11a6f246ec8b" providerId="ADAL" clId="{6ADDF83B-BC1C-427E-B398-69A66A75FB58}" dt="2024-08-27T15:26:51.115" v="3618" actId="700"/>
          <ac:spMkLst>
            <pc:docMk/>
            <pc:sldMk cId="2795715730" sldId="273"/>
            <ac:spMk id="4" creationId="{594A62AB-2684-FF07-E291-64F283A19BAD}"/>
          </ac:spMkLst>
        </pc:spChg>
        <pc:spChg chg="add del mod modVis">
          <ac:chgData name="Kohli, Abhi SIEP-IUV/I/C" userId="8df466d3-0db6-41cc-b122-11a6f246ec8b" providerId="ADAL" clId="{6ADDF83B-BC1C-427E-B398-69A66A75FB58}" dt="2024-08-27T15:26:04.328" v="3542"/>
          <ac:spMkLst>
            <pc:docMk/>
            <pc:sldMk cId="2795715730" sldId="273"/>
            <ac:spMk id="4" creationId="{82554713-0C06-F0AD-F212-D4F1CAA9E4A8}"/>
          </ac:spMkLst>
        </pc:spChg>
        <pc:spChg chg="add del mod modVis">
          <ac:chgData name="Kohli, Abhi SIEP-IUV/I/C" userId="8df466d3-0db6-41cc-b122-11a6f246ec8b" providerId="ADAL" clId="{6ADDF83B-BC1C-427E-B398-69A66A75FB58}" dt="2024-08-27T15:26:51.897" v="3663"/>
          <ac:spMkLst>
            <pc:docMk/>
            <pc:sldMk cId="2795715730" sldId="273"/>
            <ac:spMk id="5" creationId="{BB6EEEAF-75E1-F906-42F3-3E4F4D6579B2}"/>
          </ac:spMkLst>
        </pc:spChg>
        <pc:spChg chg="add del mod modVis">
          <ac:chgData name="Kohli, Abhi SIEP-IUV/I/C" userId="8df466d3-0db6-41cc-b122-11a6f246ec8b" providerId="ADAL" clId="{6ADDF83B-BC1C-427E-B398-69A66A75FB58}" dt="2024-08-27T15:26:05.616" v="3583"/>
          <ac:spMkLst>
            <pc:docMk/>
            <pc:sldMk cId="2795715730" sldId="273"/>
            <ac:spMk id="7" creationId="{ACBE3D38-5E90-0886-7F73-089859CAA528}"/>
          </ac:spMkLst>
        </pc:spChg>
        <pc:spChg chg="mod">
          <ac:chgData name="Kohli, Abhi SIEP-IUV/I/C" userId="8df466d3-0db6-41cc-b122-11a6f246ec8b" providerId="ADAL" clId="{6ADDF83B-BC1C-427E-B398-69A66A75FB58}" dt="2024-08-27T15:27:05.349" v="3758" actId="2711"/>
          <ac:spMkLst>
            <pc:docMk/>
            <pc:sldMk cId="2795715730" sldId="273"/>
            <ac:spMk id="8" creationId="{991E8D5D-DF3A-92F8-6D50-DB0480688A55}"/>
          </ac:spMkLst>
        </pc:spChg>
        <pc:spChg chg="mod">
          <ac:chgData name="Kohli, Abhi SIEP-IUV/I/C" userId="8df466d3-0db6-41cc-b122-11a6f246ec8b" providerId="ADAL" clId="{6ADDF83B-BC1C-427E-B398-69A66A75FB58}" dt="2024-08-27T15:27:05.349" v="3758" actId="2711"/>
          <ac:spMkLst>
            <pc:docMk/>
            <pc:sldMk cId="2795715730" sldId="273"/>
            <ac:spMk id="9" creationId="{53DBF871-EFE4-3BC6-B958-37D0A293B846}"/>
          </ac:spMkLst>
        </pc:spChg>
        <pc:spChg chg="add del mod modVis">
          <ac:chgData name="Kohli, Abhi SIEP-IUV/I/C" userId="8df466d3-0db6-41cc-b122-11a6f246ec8b" providerId="ADAL" clId="{6ADDF83B-BC1C-427E-B398-69A66A75FB58}" dt="2024-08-27T15:26:07.370" v="3611"/>
          <ac:spMkLst>
            <pc:docMk/>
            <pc:sldMk cId="2795715730" sldId="273"/>
            <ac:spMk id="10" creationId="{0B0CB67A-F75D-4047-A5D6-EC62C61D4FA6}"/>
          </ac:spMkLst>
        </pc:spChg>
        <pc:spChg chg="add del mod modVis">
          <ac:chgData name="Kohli, Abhi SIEP-IUV/I/C" userId="8df466d3-0db6-41cc-b122-11a6f246ec8b" providerId="ADAL" clId="{6ADDF83B-BC1C-427E-B398-69A66A75FB58}" dt="2024-08-27T15:26:57.743" v="3727"/>
          <ac:spMkLst>
            <pc:docMk/>
            <pc:sldMk cId="2795715730" sldId="273"/>
            <ac:spMk id="10" creationId="{239B0BFD-FCA1-C208-7129-CF36DCDC5719}"/>
          </ac:spMkLst>
        </pc:spChg>
        <pc:spChg chg="add del mod modVis">
          <ac:chgData name="Kohli, Abhi SIEP-IUV/I/C" userId="8df466d3-0db6-41cc-b122-11a6f246ec8b" providerId="ADAL" clId="{6ADDF83B-BC1C-427E-B398-69A66A75FB58}" dt="2024-08-27T15:26:59.151" v="3755"/>
          <ac:spMkLst>
            <pc:docMk/>
            <pc:sldMk cId="2795715730" sldId="273"/>
            <ac:spMk id="11" creationId="{8A725F5D-B08F-C88B-45B7-46F09F7B27BC}"/>
          </ac:spMkLst>
        </pc:spChg>
        <pc:graphicFrameChg chg="add mod ord modVis replST">
          <ac:chgData name="Kohli, Abhi SIEP-IUV/I/C" userId="8df466d3-0db6-41cc-b122-11a6f246ec8b" providerId="ADAL" clId="{6ADDF83B-BC1C-427E-B398-69A66A75FB58}" dt="2024-08-27T15:26:07.377" v="3613"/>
          <ac:graphicFrameMkLst>
            <pc:docMk/>
            <pc:sldMk cId="2795715730" sldId="273"/>
            <ac:graphicFrameMk id="5" creationId="{09051C68-5933-807E-47AA-0E646D29267C}"/>
          </ac:graphicFrameMkLst>
        </pc:graphicFrameChg>
        <pc:graphicFrameChg chg="add mod ord modVis replST">
          <ac:chgData name="Kohli, Abhi SIEP-IUV/I/C" userId="8df466d3-0db6-41cc-b122-11a6f246ec8b" providerId="ADAL" clId="{6ADDF83B-BC1C-427E-B398-69A66A75FB58}" dt="2024-08-27T15:26:59.156" v="3757"/>
          <ac:graphicFrameMkLst>
            <pc:docMk/>
            <pc:sldMk cId="2795715730" sldId="273"/>
            <ac:graphicFrameMk id="7" creationId="{EEC3885B-559A-A0CC-EBAF-A1662D158115}"/>
          </ac:graphicFrameMkLst>
        </pc:graphicFrameChg>
        <pc:picChg chg="mod">
          <ac:chgData name="Kohli, Abhi SIEP-IUV/I/C" userId="8df466d3-0db6-41cc-b122-11a6f246ec8b" providerId="ADAL" clId="{6ADDF83B-BC1C-427E-B398-69A66A75FB58}" dt="2024-08-27T15:26:10.872" v="3615" actId="1076"/>
          <ac:picMkLst>
            <pc:docMk/>
            <pc:sldMk cId="2795715730" sldId="273"/>
            <ac:picMk id="6" creationId="{223D80D1-22AE-1989-8F3B-83D86936BA52}"/>
          </ac:picMkLst>
        </pc:picChg>
      </pc:sldChg>
      <pc:sldChg chg="addSp delSp modSp del mod ord modClrScheme chgLayout">
        <pc:chgData name="Kohli, Abhi SIEP-IUV/I/C" userId="8df466d3-0db6-41cc-b122-11a6f246ec8b" providerId="ADAL" clId="{6ADDF83B-BC1C-427E-B398-69A66A75FB58}" dt="2024-08-27T20:59:21.901" v="4177"/>
        <pc:sldMkLst>
          <pc:docMk/>
          <pc:sldMk cId="1338962799" sldId="274"/>
        </pc:sldMkLst>
        <pc:spChg chg="mod ord">
          <ac:chgData name="Kohli, Abhi SIEP-IUV/I/C" userId="8df466d3-0db6-41cc-b122-11a6f246ec8b" providerId="ADAL" clId="{6ADDF83B-BC1C-427E-B398-69A66A75FB58}" dt="2024-08-27T20:58:13.700" v="4130" actId="948"/>
          <ac:spMkLst>
            <pc:docMk/>
            <pc:sldMk cId="1338962799" sldId="274"/>
            <ac:spMk id="2" creationId="{3301209B-13A3-8E78-3FBB-E085B8B20ADF}"/>
          </ac:spMkLst>
        </pc:spChg>
        <pc:spChg chg="del">
          <ac:chgData name="Kohli, Abhi SIEP-IUV/I/C" userId="8df466d3-0db6-41cc-b122-11a6f246ec8b" providerId="ADAL" clId="{6ADDF83B-BC1C-427E-B398-69A66A75FB58}" dt="2024-08-27T15:27:18.236" v="3800" actId="478"/>
          <ac:spMkLst>
            <pc:docMk/>
            <pc:sldMk cId="1338962799" sldId="274"/>
            <ac:spMk id="3" creationId="{8E1D8936-2499-CC47-983B-75B95DD42988}"/>
          </ac:spMkLst>
        </pc:spChg>
        <pc:spChg chg="add del mod ord">
          <ac:chgData name="Kohli, Abhi SIEP-IUV/I/C" userId="8df466d3-0db6-41cc-b122-11a6f246ec8b" providerId="ADAL" clId="{6ADDF83B-BC1C-427E-B398-69A66A75FB58}" dt="2024-08-27T15:27:23.099" v="3808" actId="478"/>
          <ac:spMkLst>
            <pc:docMk/>
            <pc:sldMk cId="1338962799" sldId="274"/>
            <ac:spMk id="5" creationId="{A46453EA-5668-526F-EF46-E142F38D9932}"/>
          </ac:spMkLst>
        </pc:spChg>
        <pc:spChg chg="add del mod modVis">
          <ac:chgData name="Kohli, Abhi SIEP-IUV/I/C" userId="8df466d3-0db6-41cc-b122-11a6f246ec8b" providerId="ADAL" clId="{6ADDF83B-BC1C-427E-B398-69A66A75FB58}" dt="2024-08-27T15:27:17.009" v="3784"/>
          <ac:spMkLst>
            <pc:docMk/>
            <pc:sldMk cId="1338962799" sldId="274"/>
            <ac:spMk id="7" creationId="{35E19FBE-B222-F88B-B1F0-1D47F355D1A5}"/>
          </ac:spMkLst>
        </pc:spChg>
        <pc:spChg chg="add del mod modVis">
          <ac:chgData name="Kohli, Abhi SIEP-IUV/I/C" userId="8df466d3-0db6-41cc-b122-11a6f246ec8b" providerId="ADAL" clId="{6ADDF83B-BC1C-427E-B398-69A66A75FB58}" dt="2024-08-27T20:58:13.763" v="4154"/>
          <ac:spMkLst>
            <pc:docMk/>
            <pc:sldMk cId="1338962799" sldId="274"/>
            <ac:spMk id="10" creationId="{6FCBACEF-A3A4-D7DD-46E5-8CC1164523E2}"/>
          </ac:spMkLst>
        </pc:spChg>
        <pc:spChg chg="mod">
          <ac:chgData name="Kohli, Abhi SIEP-IUV/I/C" userId="8df466d3-0db6-41cc-b122-11a6f246ec8b" providerId="ADAL" clId="{6ADDF83B-BC1C-427E-B398-69A66A75FB58}" dt="2024-08-27T15:27:30.206" v="3810" actId="2711"/>
          <ac:spMkLst>
            <pc:docMk/>
            <pc:sldMk cId="1338962799" sldId="274"/>
            <ac:spMk id="17" creationId="{ABE47F61-EA70-43E6-5676-9D894119A0A8}"/>
          </ac:spMkLst>
        </pc:spChg>
        <pc:graphicFrameChg chg="add mod ord modVis replST">
          <ac:chgData name="Kohli, Abhi SIEP-IUV/I/C" userId="8df466d3-0db6-41cc-b122-11a6f246ec8b" providerId="ADAL" clId="{6ADDF83B-BC1C-427E-B398-69A66A75FB58}" dt="2024-08-27T20:58:13.763" v="4156"/>
          <ac:graphicFrameMkLst>
            <pc:docMk/>
            <pc:sldMk cId="1338962799" sldId="274"/>
            <ac:graphicFrameMk id="8" creationId="{E93EF8EB-14FF-C5DD-55D5-83CA2BA1E919}"/>
          </ac:graphicFrameMkLst>
        </pc:graphicFrameChg>
      </pc:sldChg>
      <pc:sldChg chg="addSp delSp modSp mod ord">
        <pc:chgData name="Kohli, Abhi SIEP-IUV/I/C" userId="8df466d3-0db6-41cc-b122-11a6f246ec8b" providerId="ADAL" clId="{6ADDF83B-BC1C-427E-B398-69A66A75FB58}" dt="2024-08-27T16:35:23.314" v="4128" actId="1076"/>
        <pc:sldMkLst>
          <pc:docMk/>
          <pc:sldMk cId="3693321799" sldId="276"/>
        </pc:sldMkLst>
        <pc:spChg chg="add mod">
          <ac:chgData name="Kohli, Abhi SIEP-IUV/I/C" userId="8df466d3-0db6-41cc-b122-11a6f246ec8b" providerId="ADAL" clId="{6ADDF83B-BC1C-427E-B398-69A66A75FB58}" dt="2024-08-27T16:35:19.028" v="4127" actId="20577"/>
          <ac:spMkLst>
            <pc:docMk/>
            <pc:sldMk cId="3693321799" sldId="276"/>
            <ac:spMk id="2" creationId="{E9E6C224-4506-BBE7-8DDA-987189063675}"/>
          </ac:spMkLst>
        </pc:spChg>
        <pc:spChg chg="mod">
          <ac:chgData name="Kohli, Abhi SIEP-IUV/I/C" userId="8df466d3-0db6-41cc-b122-11a6f246ec8b" providerId="ADAL" clId="{6ADDF83B-BC1C-427E-B398-69A66A75FB58}" dt="2024-08-25T21:08:59.282" v="2909" actId="1076"/>
          <ac:spMkLst>
            <pc:docMk/>
            <pc:sldMk cId="3693321799" sldId="276"/>
            <ac:spMk id="3" creationId="{26CEF3A0-AC1B-43D7-BA36-AF12DC27AF7C}"/>
          </ac:spMkLst>
        </pc:spChg>
        <pc:spChg chg="del mod">
          <ac:chgData name="Kohli, Abhi SIEP-IUV/I/C" userId="8df466d3-0db6-41cc-b122-11a6f246ec8b" providerId="ADAL" clId="{6ADDF83B-BC1C-427E-B398-69A66A75FB58}" dt="2024-08-25T17:29:24.796" v="1588" actId="478"/>
          <ac:spMkLst>
            <pc:docMk/>
            <pc:sldMk cId="3693321799" sldId="276"/>
            <ac:spMk id="7" creationId="{EA1D1F76-7996-4854-889C-56E7C14C5831}"/>
          </ac:spMkLst>
        </pc:spChg>
        <pc:spChg chg="add del mod">
          <ac:chgData name="Kohli, Abhi SIEP-IUV/I/C" userId="8df466d3-0db6-41cc-b122-11a6f246ec8b" providerId="ADAL" clId="{6ADDF83B-BC1C-427E-B398-69A66A75FB58}" dt="2024-08-25T17:29:26.051" v="1590" actId="478"/>
          <ac:spMkLst>
            <pc:docMk/>
            <pc:sldMk cId="3693321799" sldId="276"/>
            <ac:spMk id="8" creationId="{82B39E95-169B-3034-D33C-6D8C361814B2}"/>
          </ac:spMkLst>
        </pc:spChg>
        <pc:spChg chg="del mod">
          <ac:chgData name="Kohli, Abhi SIEP-IUV/I/C" userId="8df466d3-0db6-41cc-b122-11a6f246ec8b" providerId="ADAL" clId="{6ADDF83B-BC1C-427E-B398-69A66A75FB58}" dt="2024-08-25T17:29:22.378" v="1587" actId="478"/>
          <ac:spMkLst>
            <pc:docMk/>
            <pc:sldMk cId="3693321799" sldId="276"/>
            <ac:spMk id="9" creationId="{4551AFCA-E4F2-406D-8796-0A37A1BAC582}"/>
          </ac:spMkLst>
        </pc:spChg>
        <pc:spChg chg="mod">
          <ac:chgData name="Kohli, Abhi SIEP-IUV/I/C" userId="8df466d3-0db6-41cc-b122-11a6f246ec8b" providerId="ADAL" clId="{6ADDF83B-BC1C-427E-B398-69A66A75FB58}" dt="2024-08-25T17:30:01.659" v="1605" actId="1076"/>
          <ac:spMkLst>
            <pc:docMk/>
            <pc:sldMk cId="3693321799" sldId="276"/>
            <ac:spMk id="10" creationId="{D32C0BEC-EC48-413F-A4EF-492452612218}"/>
          </ac:spMkLst>
        </pc:spChg>
        <pc:spChg chg="mod">
          <ac:chgData name="Kohli, Abhi SIEP-IUV/I/C" userId="8df466d3-0db6-41cc-b122-11a6f246ec8b" providerId="ADAL" clId="{6ADDF83B-BC1C-427E-B398-69A66A75FB58}" dt="2024-08-27T16:35:23.314" v="4128" actId="1076"/>
          <ac:spMkLst>
            <pc:docMk/>
            <pc:sldMk cId="3693321799" sldId="276"/>
            <ac:spMk id="11" creationId="{8DA23AC1-2D08-411A-903A-49942FCEAAF0}"/>
          </ac:spMkLst>
        </pc:spChg>
        <pc:spChg chg="del">
          <ac:chgData name="Kohli, Abhi SIEP-IUV/I/C" userId="8df466d3-0db6-41cc-b122-11a6f246ec8b" providerId="ADAL" clId="{6ADDF83B-BC1C-427E-B398-69A66A75FB58}" dt="2024-08-25T17:29:27.055" v="1591" actId="478"/>
          <ac:spMkLst>
            <pc:docMk/>
            <pc:sldMk cId="3693321799" sldId="276"/>
            <ac:spMk id="12" creationId="{491F2F45-C354-4489-A82A-A5C55ADC40C9}"/>
          </ac:spMkLst>
        </pc:spChg>
        <pc:spChg chg="mod">
          <ac:chgData name="Kohli, Abhi SIEP-IUV/I/C" userId="8df466d3-0db6-41cc-b122-11a6f246ec8b" providerId="ADAL" clId="{6ADDF83B-BC1C-427E-B398-69A66A75FB58}" dt="2024-08-25T17:30:17.229" v="1612" actId="1076"/>
          <ac:spMkLst>
            <pc:docMk/>
            <pc:sldMk cId="3693321799" sldId="276"/>
            <ac:spMk id="13" creationId="{4982DC3B-A195-4F27-D097-4245D30B8C60}"/>
          </ac:spMkLst>
        </pc:spChg>
        <pc:spChg chg="del">
          <ac:chgData name="Kohli, Abhi SIEP-IUV/I/C" userId="8df466d3-0db6-41cc-b122-11a6f246ec8b" providerId="ADAL" clId="{6ADDF83B-BC1C-427E-B398-69A66A75FB58}" dt="2024-08-25T17:29:29.225" v="1593" actId="478"/>
          <ac:spMkLst>
            <pc:docMk/>
            <pc:sldMk cId="3693321799" sldId="276"/>
            <ac:spMk id="14" creationId="{BDB84E31-77BF-4418-8081-6D9F2653A2A0}"/>
          </ac:spMkLst>
        </pc:spChg>
        <pc:spChg chg="del mod">
          <ac:chgData name="Kohli, Abhi SIEP-IUV/I/C" userId="8df466d3-0db6-41cc-b122-11a6f246ec8b" providerId="ADAL" clId="{6ADDF83B-BC1C-427E-B398-69A66A75FB58}" dt="2024-08-25T17:29:30.461" v="1594" actId="478"/>
          <ac:spMkLst>
            <pc:docMk/>
            <pc:sldMk cId="3693321799" sldId="276"/>
            <ac:spMk id="16" creationId="{F2D369BC-9E1A-4AFC-BC05-FA3BB39D5514}"/>
          </ac:spMkLst>
        </pc:spChg>
        <pc:spChg chg="add mod">
          <ac:chgData name="Kohli, Abhi SIEP-IUV/I/C" userId="8df466d3-0db6-41cc-b122-11a6f246ec8b" providerId="ADAL" clId="{6ADDF83B-BC1C-427E-B398-69A66A75FB58}" dt="2024-08-25T20:18:52.032" v="1768" actId="20577"/>
          <ac:spMkLst>
            <pc:docMk/>
            <pc:sldMk cId="3693321799" sldId="276"/>
            <ac:spMk id="19" creationId="{0737150B-00D7-8FFC-09B3-2834D620190D}"/>
          </ac:spMkLst>
        </pc:spChg>
        <pc:spChg chg="add del mod">
          <ac:chgData name="Kohli, Abhi SIEP-IUV/I/C" userId="8df466d3-0db6-41cc-b122-11a6f246ec8b" providerId="ADAL" clId="{6ADDF83B-BC1C-427E-B398-69A66A75FB58}" dt="2024-08-25T17:27:12.580" v="1547" actId="478"/>
          <ac:spMkLst>
            <pc:docMk/>
            <pc:sldMk cId="3693321799" sldId="276"/>
            <ac:spMk id="22" creationId="{1E48C345-319E-50DA-CB15-7F37BE2B9799}"/>
          </ac:spMkLst>
        </pc:spChg>
        <pc:spChg chg="add mod">
          <ac:chgData name="Kohli, Abhi SIEP-IUV/I/C" userId="8df466d3-0db6-41cc-b122-11a6f246ec8b" providerId="ADAL" clId="{6ADDF83B-BC1C-427E-B398-69A66A75FB58}" dt="2024-08-25T20:18:21.800" v="1753" actId="1076"/>
          <ac:spMkLst>
            <pc:docMk/>
            <pc:sldMk cId="3693321799" sldId="276"/>
            <ac:spMk id="23" creationId="{85658B6D-991A-8ED3-E998-1B9BD8BF56EA}"/>
          </ac:spMkLst>
        </pc:spChg>
        <pc:spChg chg="add mod">
          <ac:chgData name="Kohli, Abhi SIEP-IUV/I/C" userId="8df466d3-0db6-41cc-b122-11a6f246ec8b" providerId="ADAL" clId="{6ADDF83B-BC1C-427E-B398-69A66A75FB58}" dt="2024-08-20T00:17:52.771" v="596"/>
          <ac:spMkLst>
            <pc:docMk/>
            <pc:sldMk cId="3693321799" sldId="276"/>
            <ac:spMk id="24" creationId="{A66BE25D-DEF1-9DBE-C852-E13FEF9D1CCD}"/>
          </ac:spMkLst>
        </pc:spChg>
        <pc:spChg chg="add del mod">
          <ac:chgData name="Kohli, Abhi SIEP-IUV/I/C" userId="8df466d3-0db6-41cc-b122-11a6f246ec8b" providerId="ADAL" clId="{6ADDF83B-BC1C-427E-B398-69A66A75FB58}" dt="2024-08-25T17:29:32.941" v="1595" actId="478"/>
          <ac:spMkLst>
            <pc:docMk/>
            <pc:sldMk cId="3693321799" sldId="276"/>
            <ac:spMk id="26" creationId="{6512F4D4-31B3-E661-FADB-DE78D3F41EDC}"/>
          </ac:spMkLst>
        </pc:spChg>
        <pc:spChg chg="add mod">
          <ac:chgData name="Kohli, Abhi SIEP-IUV/I/C" userId="8df466d3-0db6-41cc-b122-11a6f246ec8b" providerId="ADAL" clId="{6ADDF83B-BC1C-427E-B398-69A66A75FB58}" dt="2024-08-25T17:29:47.112" v="1598" actId="1076"/>
          <ac:spMkLst>
            <pc:docMk/>
            <pc:sldMk cId="3693321799" sldId="276"/>
            <ac:spMk id="27" creationId="{D6106114-B8B7-71BA-8737-F21E1681CAB0}"/>
          </ac:spMkLst>
        </pc:spChg>
        <pc:spChg chg="add mod">
          <ac:chgData name="Kohli, Abhi SIEP-IUV/I/C" userId="8df466d3-0db6-41cc-b122-11a6f246ec8b" providerId="ADAL" clId="{6ADDF83B-BC1C-427E-B398-69A66A75FB58}" dt="2024-08-25T20:19:08.040" v="1770" actId="1076"/>
          <ac:spMkLst>
            <pc:docMk/>
            <pc:sldMk cId="3693321799" sldId="276"/>
            <ac:spMk id="28" creationId="{5050E406-5424-EEFA-0659-6C90EF107A44}"/>
          </ac:spMkLst>
        </pc:spChg>
        <pc:picChg chg="del mod">
          <ac:chgData name="Kohli, Abhi SIEP-IUV/I/C" userId="8df466d3-0db6-41cc-b122-11a6f246ec8b" providerId="ADAL" clId="{6ADDF83B-BC1C-427E-B398-69A66A75FB58}" dt="2024-08-25T17:29:25.486" v="1589" actId="478"/>
          <ac:picMkLst>
            <pc:docMk/>
            <pc:sldMk cId="3693321799" sldId="276"/>
            <ac:picMk id="2" creationId="{05A49C2C-FE5A-41E8-A957-0AE09C870899}"/>
          </ac:picMkLst>
        </pc:picChg>
        <pc:picChg chg="del">
          <ac:chgData name="Kohli, Abhi SIEP-IUV/I/C" userId="8df466d3-0db6-41cc-b122-11a6f246ec8b" providerId="ADAL" clId="{6ADDF83B-BC1C-427E-B398-69A66A75FB58}" dt="2024-08-25T17:29:27.887" v="1592" actId="478"/>
          <ac:picMkLst>
            <pc:docMk/>
            <pc:sldMk cId="3693321799" sldId="276"/>
            <ac:picMk id="17" creationId="{403B9C35-4695-496E-8E5B-6CDB91C27C97}"/>
          </ac:picMkLst>
        </pc:picChg>
        <pc:picChg chg="add mod">
          <ac:chgData name="Kohli, Abhi SIEP-IUV/I/C" userId="8df466d3-0db6-41cc-b122-11a6f246ec8b" providerId="ADAL" clId="{6ADDF83B-BC1C-427E-B398-69A66A75FB58}" dt="2024-08-25T17:30:26.364" v="1617" actId="1076"/>
          <ac:picMkLst>
            <pc:docMk/>
            <pc:sldMk cId="3693321799" sldId="276"/>
            <ac:picMk id="20" creationId="{AE6AD0D5-9B25-340F-EB1C-84725C742136}"/>
          </ac:picMkLst>
        </pc:picChg>
        <pc:picChg chg="add mod">
          <ac:chgData name="Kohli, Abhi SIEP-IUV/I/C" userId="8df466d3-0db6-41cc-b122-11a6f246ec8b" providerId="ADAL" clId="{6ADDF83B-BC1C-427E-B398-69A66A75FB58}" dt="2024-08-25T17:29:47.112" v="1598" actId="1076"/>
          <ac:picMkLst>
            <pc:docMk/>
            <pc:sldMk cId="3693321799" sldId="276"/>
            <ac:picMk id="21" creationId="{D2D8433E-6508-ED2C-F8D1-6134275DE560}"/>
          </ac:picMkLst>
        </pc:picChg>
        <pc:picChg chg="mod">
          <ac:chgData name="Kohli, Abhi SIEP-IUV/I/C" userId="8df466d3-0db6-41cc-b122-11a6f246ec8b" providerId="ADAL" clId="{6ADDF83B-BC1C-427E-B398-69A66A75FB58}" dt="2024-08-25T17:30:12.958" v="1610" actId="1076"/>
          <ac:picMkLst>
            <pc:docMk/>
            <pc:sldMk cId="3693321799" sldId="276"/>
            <ac:picMk id="25" creationId="{321ACF75-8FC3-B806-26F6-E991FFB9675E}"/>
          </ac:picMkLst>
        </pc:picChg>
      </pc:sldChg>
      <pc:sldChg chg="addSp delSp modSp mod modAnim">
        <pc:chgData name="Kohli, Abhi SIEP-IUV/I/C" userId="8df466d3-0db6-41cc-b122-11a6f246ec8b" providerId="ADAL" clId="{6ADDF83B-BC1C-427E-B398-69A66A75FB58}" dt="2024-08-28T19:26:59.474" v="4765" actId="2711"/>
        <pc:sldMkLst>
          <pc:docMk/>
          <pc:sldMk cId="2152960712" sldId="277"/>
        </pc:sldMkLst>
        <pc:spChg chg="mod">
          <ac:chgData name="Kohli, Abhi SIEP-IUV/I/C" userId="8df466d3-0db6-41cc-b122-11a6f246ec8b" providerId="ADAL" clId="{6ADDF83B-BC1C-427E-B398-69A66A75FB58}" dt="2024-08-20T00:26:01.734" v="752" actId="948"/>
          <ac:spMkLst>
            <pc:docMk/>
            <pc:sldMk cId="2152960712" sldId="277"/>
            <ac:spMk id="2" creationId="{6F533EDE-A1C1-4CA0-98E8-BD1642B2BFC8}"/>
          </ac:spMkLst>
        </pc:spChg>
        <pc:spChg chg="add del mod modVis">
          <ac:chgData name="Kohli, Abhi SIEP-IUV/I/C" userId="8df466d3-0db6-41cc-b122-11a6f246ec8b" providerId="ADAL" clId="{6ADDF83B-BC1C-427E-B398-69A66A75FB58}" dt="2024-08-19T22:19:15.426" v="496"/>
          <ac:spMkLst>
            <pc:docMk/>
            <pc:sldMk cId="2152960712" sldId="277"/>
            <ac:spMk id="3" creationId="{D353063B-DF0B-1F08-DCB5-2AF2D5F0A19A}"/>
          </ac:spMkLst>
        </pc:spChg>
        <pc:spChg chg="add del mod">
          <ac:chgData name="Kohli, Abhi SIEP-IUV/I/C" userId="8df466d3-0db6-41cc-b122-11a6f246ec8b" providerId="ADAL" clId="{6ADDF83B-BC1C-427E-B398-69A66A75FB58}" dt="2024-08-19T22:18:56.138" v="469" actId="478"/>
          <ac:spMkLst>
            <pc:docMk/>
            <pc:sldMk cId="2152960712" sldId="277"/>
            <ac:spMk id="9" creationId="{97510FD3-7B37-F7F0-C26E-48EFDDA9D324}"/>
          </ac:spMkLst>
        </pc:spChg>
        <pc:spChg chg="add mod">
          <ac:chgData name="Kohli, Abhi SIEP-IUV/I/C" userId="8df466d3-0db6-41cc-b122-11a6f246ec8b" providerId="ADAL" clId="{6ADDF83B-BC1C-427E-B398-69A66A75FB58}" dt="2024-08-26T22:42:33.359" v="3321" actId="164"/>
          <ac:spMkLst>
            <pc:docMk/>
            <pc:sldMk cId="2152960712" sldId="277"/>
            <ac:spMk id="11" creationId="{C6CB522D-1E10-85F1-F624-DBB323D3E92A}"/>
          </ac:spMkLst>
        </pc:spChg>
        <pc:spChg chg="add mod">
          <ac:chgData name="Kohli, Abhi SIEP-IUV/I/C" userId="8df466d3-0db6-41cc-b122-11a6f246ec8b" providerId="ADAL" clId="{6ADDF83B-BC1C-427E-B398-69A66A75FB58}" dt="2024-08-26T22:42:33.359" v="3321" actId="164"/>
          <ac:spMkLst>
            <pc:docMk/>
            <pc:sldMk cId="2152960712" sldId="277"/>
            <ac:spMk id="12" creationId="{C7CFE189-2EFA-41A6-2B28-05EAEA84549E}"/>
          </ac:spMkLst>
        </pc:spChg>
        <pc:spChg chg="add mod">
          <ac:chgData name="Kohli, Abhi SIEP-IUV/I/C" userId="8df466d3-0db6-41cc-b122-11a6f246ec8b" providerId="ADAL" clId="{6ADDF83B-BC1C-427E-B398-69A66A75FB58}" dt="2024-08-28T19:26:59.474" v="4765" actId="2711"/>
          <ac:spMkLst>
            <pc:docMk/>
            <pc:sldMk cId="2152960712" sldId="277"/>
            <ac:spMk id="13" creationId="{4514B5C0-6685-D59A-7878-5205BF5E90B6}"/>
          </ac:spMkLst>
        </pc:spChg>
        <pc:grpChg chg="add mod">
          <ac:chgData name="Kohli, Abhi SIEP-IUV/I/C" userId="8df466d3-0db6-41cc-b122-11a6f246ec8b" providerId="ADAL" clId="{6ADDF83B-BC1C-427E-B398-69A66A75FB58}" dt="2024-08-26T22:42:33.359" v="3321" actId="164"/>
          <ac:grpSpMkLst>
            <pc:docMk/>
            <pc:sldMk cId="2152960712" sldId="277"/>
            <ac:grpSpMk id="3" creationId="{C6B9555D-9681-7B7F-42F0-68432C82DF29}"/>
          </ac:grpSpMkLst>
        </pc:grpChg>
        <pc:graphicFrameChg chg="add del mod modGraphic">
          <ac:chgData name="Kohli, Abhi SIEP-IUV/I/C" userId="8df466d3-0db6-41cc-b122-11a6f246ec8b" providerId="ADAL" clId="{6ADDF83B-BC1C-427E-B398-69A66A75FB58}" dt="2024-08-16T16:53:50.778" v="46" actId="478"/>
          <ac:graphicFrameMkLst>
            <pc:docMk/>
            <pc:sldMk cId="2152960712" sldId="277"/>
            <ac:graphicFrameMk id="3" creationId="{F03BAF14-C055-3E12-F546-A03BB6D8548D}"/>
          </ac:graphicFrameMkLst>
        </pc:graphicFrameChg>
        <pc:graphicFrameChg chg="add mod ord modVis replST">
          <ac:chgData name="Kohli, Abhi SIEP-IUV/I/C" userId="8df466d3-0db6-41cc-b122-11a6f246ec8b" providerId="ADAL" clId="{6ADDF83B-BC1C-427E-B398-69A66A75FB58}" dt="2024-08-20T00:26:01.749" v="756"/>
          <ac:graphicFrameMkLst>
            <pc:docMk/>
            <pc:sldMk cId="2152960712" sldId="277"/>
            <ac:graphicFrameMk id="10" creationId="{84D6F657-B6A0-EB30-4FDB-2F322AA9AD5E}"/>
          </ac:graphicFrameMkLst>
        </pc:graphicFrameChg>
        <pc:picChg chg="mod">
          <ac:chgData name="Kohli, Abhi SIEP-IUV/I/C" userId="8df466d3-0db6-41cc-b122-11a6f246ec8b" providerId="ADAL" clId="{6ADDF83B-BC1C-427E-B398-69A66A75FB58}" dt="2024-08-19T22:21:47.952" v="548" actId="14100"/>
          <ac:picMkLst>
            <pc:docMk/>
            <pc:sldMk cId="2152960712" sldId="277"/>
            <ac:picMk id="7" creationId="{58D7539F-1B55-4419-A998-ACD4201A1E3D}"/>
          </ac:picMkLst>
        </pc:picChg>
        <pc:picChg chg="mod">
          <ac:chgData name="Kohli, Abhi SIEP-IUV/I/C" userId="8df466d3-0db6-41cc-b122-11a6f246ec8b" providerId="ADAL" clId="{6ADDF83B-BC1C-427E-B398-69A66A75FB58}" dt="2024-08-19T22:21:18.139" v="541" actId="1076"/>
          <ac:picMkLst>
            <pc:docMk/>
            <pc:sldMk cId="2152960712" sldId="277"/>
            <ac:picMk id="8" creationId="{E95F8A46-F1E7-4AB6-95F9-0A0D02D2AB17}"/>
          </ac:picMkLst>
        </pc:picChg>
      </pc:sldChg>
      <pc:sldChg chg="addSp delSp modSp del mod">
        <pc:chgData name="Kohli, Abhi SIEP-IUV/I/C" userId="8df466d3-0db6-41cc-b122-11a6f246ec8b" providerId="ADAL" clId="{6ADDF83B-BC1C-427E-B398-69A66A75FB58}" dt="2024-08-26T20:54:29.767" v="3063" actId="47"/>
        <pc:sldMkLst>
          <pc:docMk/>
          <pc:sldMk cId="135368644" sldId="282"/>
        </pc:sldMkLst>
        <pc:spChg chg="del mod">
          <ac:chgData name="Kohli, Abhi SIEP-IUV/I/C" userId="8df466d3-0db6-41cc-b122-11a6f246ec8b" providerId="ADAL" clId="{6ADDF83B-BC1C-427E-B398-69A66A75FB58}" dt="2024-08-25T20:17:28.766" v="1748" actId="478"/>
          <ac:spMkLst>
            <pc:docMk/>
            <pc:sldMk cId="135368644" sldId="282"/>
            <ac:spMk id="9" creationId="{4551AFCA-E4F2-406D-8796-0A37A1BAC582}"/>
          </ac:spMkLst>
        </pc:spChg>
        <pc:spChg chg="del mod">
          <ac:chgData name="Kohli, Abhi SIEP-IUV/I/C" userId="8df466d3-0db6-41cc-b122-11a6f246ec8b" providerId="ADAL" clId="{6ADDF83B-BC1C-427E-B398-69A66A75FB58}" dt="2024-08-25T20:17:30.429" v="1750" actId="478"/>
          <ac:spMkLst>
            <pc:docMk/>
            <pc:sldMk cId="135368644" sldId="282"/>
            <ac:spMk id="11" creationId="{8DA23AC1-2D08-411A-903A-49942FCEAAF0}"/>
          </ac:spMkLst>
        </pc:spChg>
        <pc:spChg chg="add del mod">
          <ac:chgData name="Kohli, Abhi SIEP-IUV/I/C" userId="8df466d3-0db6-41cc-b122-11a6f246ec8b" providerId="ADAL" clId="{6ADDF83B-BC1C-427E-B398-69A66A75FB58}" dt="2024-08-25T20:17:31.622" v="1751" actId="478"/>
          <ac:spMkLst>
            <pc:docMk/>
            <pc:sldMk cId="135368644" sldId="282"/>
            <ac:spMk id="12" creationId="{C97AB6FE-C906-352B-32D4-DB67C41EA83F}"/>
          </ac:spMkLst>
        </pc:spChg>
        <pc:spChg chg="mod">
          <ac:chgData name="Kohli, Abhi SIEP-IUV/I/C" userId="8df466d3-0db6-41cc-b122-11a6f246ec8b" providerId="ADAL" clId="{6ADDF83B-BC1C-427E-B398-69A66A75FB58}" dt="2024-08-25T20:16:12.133" v="1742" actId="1076"/>
          <ac:spMkLst>
            <pc:docMk/>
            <pc:sldMk cId="135368644" sldId="282"/>
            <ac:spMk id="13" creationId="{C434B94E-A91D-4527-A0B7-9A44C1615A19}"/>
          </ac:spMkLst>
        </pc:spChg>
        <pc:spChg chg="mod">
          <ac:chgData name="Kohli, Abhi SIEP-IUV/I/C" userId="8df466d3-0db6-41cc-b122-11a6f246ec8b" providerId="ADAL" clId="{6ADDF83B-BC1C-427E-B398-69A66A75FB58}" dt="2024-08-18T17:13:06.728" v="223" actId="27636"/>
          <ac:spMkLst>
            <pc:docMk/>
            <pc:sldMk cId="135368644" sldId="282"/>
            <ac:spMk id="14" creationId="{F152FB6E-E9E7-4499-9A92-06FE91CE5A53}"/>
          </ac:spMkLst>
        </pc:spChg>
        <pc:spChg chg="mod">
          <ac:chgData name="Kohli, Abhi SIEP-IUV/I/C" userId="8df466d3-0db6-41cc-b122-11a6f246ec8b" providerId="ADAL" clId="{6ADDF83B-BC1C-427E-B398-69A66A75FB58}" dt="2024-08-25T20:16:03.203" v="1730" actId="14100"/>
          <ac:spMkLst>
            <pc:docMk/>
            <pc:sldMk cId="135368644" sldId="282"/>
            <ac:spMk id="15" creationId="{C92817ED-E9A5-4639-9AC0-AB03390FB0F0}"/>
          </ac:spMkLst>
        </pc:spChg>
        <pc:spChg chg="del mod">
          <ac:chgData name="Kohli, Abhi SIEP-IUV/I/C" userId="8df466d3-0db6-41cc-b122-11a6f246ec8b" providerId="ADAL" clId="{6ADDF83B-BC1C-427E-B398-69A66A75FB58}" dt="2024-08-25T16:47:53.104" v="860" actId="21"/>
          <ac:spMkLst>
            <pc:docMk/>
            <pc:sldMk cId="135368644" sldId="282"/>
            <ac:spMk id="16" creationId="{5AA9139C-B39D-4C0B-2EA8-FC0E29773215}"/>
          </ac:spMkLst>
        </pc:spChg>
        <pc:spChg chg="add del mod">
          <ac:chgData name="Kohli, Abhi SIEP-IUV/I/C" userId="8df466d3-0db6-41cc-b122-11a6f246ec8b" providerId="ADAL" clId="{6ADDF83B-BC1C-427E-B398-69A66A75FB58}" dt="2024-08-25T16:47:53.104" v="860" actId="21"/>
          <ac:spMkLst>
            <pc:docMk/>
            <pc:sldMk cId="135368644" sldId="282"/>
            <ac:spMk id="17" creationId="{8DA23AC1-2D08-411A-903A-49942FCEAAF0}"/>
          </ac:spMkLst>
        </pc:spChg>
        <pc:spChg chg="del mod">
          <ac:chgData name="Kohli, Abhi SIEP-IUV/I/C" userId="8df466d3-0db6-41cc-b122-11a6f246ec8b" providerId="ADAL" clId="{6ADDF83B-BC1C-427E-B398-69A66A75FB58}" dt="2024-08-25T20:17:26.489" v="1747" actId="478"/>
          <ac:spMkLst>
            <pc:docMk/>
            <pc:sldMk cId="135368644" sldId="282"/>
            <ac:spMk id="19" creationId="{69A737F5-446E-46C2-B1CA-01778EF0B0A3}"/>
          </ac:spMkLst>
        </pc:spChg>
        <pc:spChg chg="add mod">
          <ac:chgData name="Kohli, Abhi SIEP-IUV/I/C" userId="8df466d3-0db6-41cc-b122-11a6f246ec8b" providerId="ADAL" clId="{6ADDF83B-BC1C-427E-B398-69A66A75FB58}" dt="2024-08-26T15:05:46.987" v="3018" actId="1076"/>
          <ac:spMkLst>
            <pc:docMk/>
            <pc:sldMk cId="135368644" sldId="282"/>
            <ac:spMk id="20" creationId="{BDD0DD0A-09EE-17D6-8F43-4ABB6265A360}"/>
          </ac:spMkLst>
        </pc:spChg>
        <pc:spChg chg="del">
          <ac:chgData name="Kohli, Abhi SIEP-IUV/I/C" userId="8df466d3-0db6-41cc-b122-11a6f246ec8b" providerId="ADAL" clId="{6ADDF83B-BC1C-427E-B398-69A66A75FB58}" dt="2024-08-18T17:12:33.337" v="192" actId="478"/>
          <ac:spMkLst>
            <pc:docMk/>
            <pc:sldMk cId="135368644" sldId="282"/>
            <ac:spMk id="20" creationId="{EA2F12DD-C8C6-45B5-B7E8-ADB49CF7A9EC}"/>
          </ac:spMkLst>
        </pc:spChg>
        <pc:picChg chg="del">
          <ac:chgData name="Kohli, Abhi SIEP-IUV/I/C" userId="8df466d3-0db6-41cc-b122-11a6f246ec8b" providerId="ADAL" clId="{6ADDF83B-BC1C-427E-B398-69A66A75FB58}" dt="2024-08-25T20:11:51.145" v="1661" actId="478"/>
          <ac:picMkLst>
            <pc:docMk/>
            <pc:sldMk cId="135368644" sldId="282"/>
            <ac:picMk id="3" creationId="{88B22684-9EC3-46C6-B822-FA1CC621131D}"/>
          </ac:picMkLst>
        </pc:picChg>
        <pc:picChg chg="del">
          <ac:chgData name="Kohli, Abhi SIEP-IUV/I/C" userId="8df466d3-0db6-41cc-b122-11a6f246ec8b" providerId="ADAL" clId="{6ADDF83B-BC1C-427E-B398-69A66A75FB58}" dt="2024-08-18T17:12:36.193" v="194" actId="478"/>
          <ac:picMkLst>
            <pc:docMk/>
            <pc:sldMk cId="135368644" sldId="282"/>
            <ac:picMk id="8" creationId="{A45B3805-357C-CC8F-44CD-B3EEF21C7B4B}"/>
          </ac:picMkLst>
        </pc:picChg>
        <pc:picChg chg="add mod">
          <ac:chgData name="Kohli, Abhi SIEP-IUV/I/C" userId="8df466d3-0db6-41cc-b122-11a6f246ec8b" providerId="ADAL" clId="{6ADDF83B-BC1C-427E-B398-69A66A75FB58}" dt="2024-08-25T20:12:07.332" v="1667" actId="1076"/>
          <ac:picMkLst>
            <pc:docMk/>
            <pc:sldMk cId="135368644" sldId="282"/>
            <ac:picMk id="16" creationId="{240AFB97-5C0F-76B4-4A42-271A4FF87660}"/>
          </ac:picMkLst>
        </pc:picChg>
        <pc:picChg chg="add mod">
          <ac:chgData name="Kohli, Abhi SIEP-IUV/I/C" userId="8df466d3-0db6-41cc-b122-11a6f246ec8b" providerId="ADAL" clId="{6ADDF83B-BC1C-427E-B398-69A66A75FB58}" dt="2024-08-25T20:15:29.898" v="1708" actId="1076"/>
          <ac:picMkLst>
            <pc:docMk/>
            <pc:sldMk cId="135368644" sldId="282"/>
            <ac:picMk id="18" creationId="{FB7CADED-1BD5-F94E-254A-9B131EF3E851}"/>
          </ac:picMkLst>
        </pc:picChg>
        <pc:picChg chg="del mod">
          <ac:chgData name="Kohli, Abhi SIEP-IUV/I/C" userId="8df466d3-0db6-41cc-b122-11a6f246ec8b" providerId="ADAL" clId="{6ADDF83B-BC1C-427E-B398-69A66A75FB58}" dt="2024-08-25T20:17:29.268" v="1749" actId="478"/>
          <ac:picMkLst>
            <pc:docMk/>
            <pc:sldMk cId="135368644" sldId="282"/>
            <ac:picMk id="22" creationId="{A9E30E52-36FE-A89A-0C99-2393219DFE64}"/>
          </ac:picMkLst>
        </pc:picChg>
      </pc:sldChg>
      <pc:sldChg chg="addSp delSp modSp del mod ord">
        <pc:chgData name="Kohli, Abhi SIEP-IUV/I/C" userId="8df466d3-0db6-41cc-b122-11a6f246ec8b" providerId="ADAL" clId="{6ADDF83B-BC1C-427E-B398-69A66A75FB58}" dt="2024-08-29T02:57:16.816" v="5430" actId="47"/>
        <pc:sldMkLst>
          <pc:docMk/>
          <pc:sldMk cId="194519839" sldId="283"/>
        </pc:sldMkLst>
        <pc:spChg chg="mod">
          <ac:chgData name="Kohli, Abhi SIEP-IUV/I/C" userId="8df466d3-0db6-41cc-b122-11a6f246ec8b" providerId="ADAL" clId="{6ADDF83B-BC1C-427E-B398-69A66A75FB58}" dt="2024-08-29T02:40:43.896" v="5085" actId="948"/>
          <ac:spMkLst>
            <pc:docMk/>
            <pc:sldMk cId="194519839" sldId="283"/>
            <ac:spMk id="2" creationId="{0DF7F9B8-A397-4E3C-BA7C-55F3162BC609}"/>
          </ac:spMkLst>
        </pc:spChg>
        <pc:spChg chg="del mod">
          <ac:chgData name="Kohli, Abhi SIEP-IUV/I/C" userId="8df466d3-0db6-41cc-b122-11a6f246ec8b" providerId="ADAL" clId="{6ADDF83B-BC1C-427E-B398-69A66A75FB58}" dt="2024-08-29T02:40:46.995" v="5125" actId="21"/>
          <ac:spMkLst>
            <pc:docMk/>
            <pc:sldMk cId="194519839" sldId="283"/>
            <ac:spMk id="3" creationId="{26CEF3A0-AC1B-43D7-BA36-AF12DC27AF7C}"/>
          </ac:spMkLst>
        </pc:spChg>
        <pc:spChg chg="add del mod modVis">
          <ac:chgData name="Kohli, Abhi SIEP-IUV/I/C" userId="8df466d3-0db6-41cc-b122-11a6f246ec8b" providerId="ADAL" clId="{6ADDF83B-BC1C-427E-B398-69A66A75FB58}" dt="2024-08-29T02:40:43.956" v="5109"/>
          <ac:spMkLst>
            <pc:docMk/>
            <pc:sldMk cId="194519839" sldId="283"/>
            <ac:spMk id="8" creationId="{92B169BC-DBCF-3349-D121-93DB51888700}"/>
          </ac:spMkLst>
        </pc:spChg>
        <pc:spChg chg="del">
          <ac:chgData name="Kohli, Abhi SIEP-IUV/I/C" userId="8df466d3-0db6-41cc-b122-11a6f246ec8b" providerId="ADAL" clId="{6ADDF83B-BC1C-427E-B398-69A66A75FB58}" dt="2024-08-18T17:08:06.060" v="62" actId="478"/>
          <ac:spMkLst>
            <pc:docMk/>
            <pc:sldMk cId="194519839" sldId="283"/>
            <ac:spMk id="9" creationId="{4551AFCA-E4F2-406D-8796-0A37A1BAC582}"/>
          </ac:spMkLst>
        </pc:spChg>
        <pc:spChg chg="del">
          <ac:chgData name="Kohli, Abhi SIEP-IUV/I/C" userId="8df466d3-0db6-41cc-b122-11a6f246ec8b" providerId="ADAL" clId="{6ADDF83B-BC1C-427E-B398-69A66A75FB58}" dt="2024-08-29T02:40:46.995" v="5125" actId="21"/>
          <ac:spMkLst>
            <pc:docMk/>
            <pc:sldMk cId="194519839" sldId="283"/>
            <ac:spMk id="10" creationId="{D32C0BEC-EC48-413F-A4EF-492452612218}"/>
          </ac:spMkLst>
        </pc:spChg>
        <pc:spChg chg="del mod">
          <ac:chgData name="Kohli, Abhi SIEP-IUV/I/C" userId="8df466d3-0db6-41cc-b122-11a6f246ec8b" providerId="ADAL" clId="{6ADDF83B-BC1C-427E-B398-69A66A75FB58}" dt="2024-08-18T17:12:28.362" v="191" actId="21"/>
          <ac:spMkLst>
            <pc:docMk/>
            <pc:sldMk cId="194519839" sldId="283"/>
            <ac:spMk id="11" creationId="{8DA23AC1-2D08-411A-903A-49942FCEAAF0}"/>
          </ac:spMkLst>
        </pc:spChg>
        <pc:spChg chg="add mod">
          <ac:chgData name="Kohli, Abhi SIEP-IUV/I/C" userId="8df466d3-0db6-41cc-b122-11a6f246ec8b" providerId="ADAL" clId="{6ADDF83B-BC1C-427E-B398-69A66A75FB58}" dt="2024-08-16T16:58:11.541" v="54"/>
          <ac:spMkLst>
            <pc:docMk/>
            <pc:sldMk cId="194519839" sldId="283"/>
            <ac:spMk id="12" creationId="{EF39B95F-532F-4221-B489-D80D5B5015C6}"/>
          </ac:spMkLst>
        </pc:spChg>
        <pc:spChg chg="del mod">
          <ac:chgData name="Kohli, Abhi SIEP-IUV/I/C" userId="8df466d3-0db6-41cc-b122-11a6f246ec8b" providerId="ADAL" clId="{6ADDF83B-BC1C-427E-B398-69A66A75FB58}" dt="2024-08-29T02:40:46.995" v="5125" actId="21"/>
          <ac:spMkLst>
            <pc:docMk/>
            <pc:sldMk cId="194519839" sldId="283"/>
            <ac:spMk id="13" creationId="{E5FE5E26-6093-453A-A9A8-A871617845BE}"/>
          </ac:spMkLst>
        </pc:spChg>
        <pc:spChg chg="add mod">
          <ac:chgData name="Kohli, Abhi SIEP-IUV/I/C" userId="8df466d3-0db6-41cc-b122-11a6f246ec8b" providerId="ADAL" clId="{6ADDF83B-BC1C-427E-B398-69A66A75FB58}" dt="2024-08-18T17:12:25.457" v="190"/>
          <ac:spMkLst>
            <pc:docMk/>
            <pc:sldMk cId="194519839" sldId="283"/>
            <ac:spMk id="14" creationId="{4F4ACE65-A7A0-C79F-9926-1079ABE2F246}"/>
          </ac:spMkLst>
        </pc:spChg>
        <pc:spChg chg="add mod">
          <ac:chgData name="Kohli, Abhi SIEP-IUV/I/C" userId="8df466d3-0db6-41cc-b122-11a6f246ec8b" providerId="ADAL" clId="{6ADDF83B-BC1C-427E-B398-69A66A75FB58}" dt="2024-08-29T02:40:46.995" v="5125" actId="21"/>
          <ac:spMkLst>
            <pc:docMk/>
            <pc:sldMk cId="194519839" sldId="283"/>
            <ac:spMk id="15" creationId="{6C8E7DE3-AC53-2D50-8316-339FA2F1C390}"/>
          </ac:spMkLst>
        </pc:spChg>
        <pc:spChg chg="del">
          <ac:chgData name="Kohli, Abhi SIEP-IUV/I/C" userId="8df466d3-0db6-41cc-b122-11a6f246ec8b" providerId="ADAL" clId="{6ADDF83B-BC1C-427E-B398-69A66A75FB58}" dt="2024-08-18T17:08:07.520" v="63" actId="478"/>
          <ac:spMkLst>
            <pc:docMk/>
            <pc:sldMk cId="194519839" sldId="283"/>
            <ac:spMk id="16" creationId="{2C06529E-22B7-4ECB-8E15-896128841BE8}"/>
          </ac:spMkLst>
        </pc:spChg>
        <pc:spChg chg="del">
          <ac:chgData name="Kohli, Abhi SIEP-IUV/I/C" userId="8df466d3-0db6-41cc-b122-11a6f246ec8b" providerId="ADAL" clId="{6ADDF83B-BC1C-427E-B398-69A66A75FB58}" dt="2024-08-25T16:43:18.198" v="854" actId="478"/>
          <ac:spMkLst>
            <pc:docMk/>
            <pc:sldMk cId="194519839" sldId="283"/>
            <ac:spMk id="17" creationId="{E9D60DA5-2981-4A37-86FA-660B87C69F69}"/>
          </ac:spMkLst>
        </pc:spChg>
        <pc:spChg chg="del">
          <ac:chgData name="Kohli, Abhi SIEP-IUV/I/C" userId="8df466d3-0db6-41cc-b122-11a6f246ec8b" providerId="ADAL" clId="{6ADDF83B-BC1C-427E-B398-69A66A75FB58}" dt="2024-08-25T16:43:15.343" v="851" actId="478"/>
          <ac:spMkLst>
            <pc:docMk/>
            <pc:sldMk cId="194519839" sldId="283"/>
            <ac:spMk id="18" creationId="{C9BF50E9-FA23-4CC7-BD6E-526E57D57C13}"/>
          </ac:spMkLst>
        </pc:spChg>
        <pc:spChg chg="del">
          <ac:chgData name="Kohli, Abhi SIEP-IUV/I/C" userId="8df466d3-0db6-41cc-b122-11a6f246ec8b" providerId="ADAL" clId="{6ADDF83B-BC1C-427E-B398-69A66A75FB58}" dt="2024-08-25T16:43:08.119" v="848" actId="478"/>
          <ac:spMkLst>
            <pc:docMk/>
            <pc:sldMk cId="194519839" sldId="283"/>
            <ac:spMk id="20" creationId="{C1242788-7C77-4457-B5BB-2981C7A9C65D}"/>
          </ac:spMkLst>
        </pc:spChg>
        <pc:spChg chg="add del mod">
          <ac:chgData name="Kohli, Abhi SIEP-IUV/I/C" userId="8df466d3-0db6-41cc-b122-11a6f246ec8b" providerId="ADAL" clId="{6ADDF83B-BC1C-427E-B398-69A66A75FB58}" dt="2024-08-28T19:57:44.289" v="4864" actId="478"/>
          <ac:spMkLst>
            <pc:docMk/>
            <pc:sldMk cId="194519839" sldId="283"/>
            <ac:spMk id="21" creationId="{B03B17E7-DAE8-796E-79A0-B3B78A780897}"/>
          </ac:spMkLst>
        </pc:spChg>
        <pc:spChg chg="del mod">
          <ac:chgData name="Kohli, Abhi SIEP-IUV/I/C" userId="8df466d3-0db6-41cc-b122-11a6f246ec8b" providerId="ADAL" clId="{6ADDF83B-BC1C-427E-B398-69A66A75FB58}" dt="2024-08-25T16:43:16.567" v="853" actId="478"/>
          <ac:spMkLst>
            <pc:docMk/>
            <pc:sldMk cId="194519839" sldId="283"/>
            <ac:spMk id="22" creationId="{2A34874D-5768-45A6-8766-10EB89E86E9E}"/>
          </ac:spMkLst>
        </pc:spChg>
        <pc:spChg chg="add mod">
          <ac:chgData name="Kohli, Abhi SIEP-IUV/I/C" userId="8df466d3-0db6-41cc-b122-11a6f246ec8b" providerId="ADAL" clId="{6ADDF83B-BC1C-427E-B398-69A66A75FB58}" dt="2024-08-18T17:12:25.457" v="190"/>
          <ac:spMkLst>
            <pc:docMk/>
            <pc:sldMk cId="194519839" sldId="283"/>
            <ac:spMk id="23" creationId="{4B892C04-BF71-E566-D5E2-54F9F0744A15}"/>
          </ac:spMkLst>
        </pc:spChg>
        <pc:graphicFrameChg chg="add mod ord modVis replST">
          <ac:chgData name="Kohli, Abhi SIEP-IUV/I/C" userId="8df466d3-0db6-41cc-b122-11a6f246ec8b" providerId="ADAL" clId="{6ADDF83B-BC1C-427E-B398-69A66A75FB58}" dt="2024-08-29T02:40:44.005" v="5124"/>
          <ac:graphicFrameMkLst>
            <pc:docMk/>
            <pc:sldMk cId="194519839" sldId="283"/>
            <ac:graphicFrameMk id="9" creationId="{5B77E7E8-688F-C831-AEB6-9989EF4AB94D}"/>
          </ac:graphicFrameMkLst>
        </pc:graphicFrameChg>
        <pc:picChg chg="del">
          <ac:chgData name="Kohli, Abhi SIEP-IUV/I/C" userId="8df466d3-0db6-41cc-b122-11a6f246ec8b" providerId="ADAL" clId="{6ADDF83B-BC1C-427E-B398-69A66A75FB58}" dt="2024-08-29T02:41:04.928" v="5128" actId="21"/>
          <ac:picMkLst>
            <pc:docMk/>
            <pc:sldMk cId="194519839" sldId="283"/>
            <ac:picMk id="7" creationId="{30E1ECD1-409B-46F7-B16C-A29623117C27}"/>
          </ac:picMkLst>
        </pc:picChg>
        <pc:picChg chg="del">
          <ac:chgData name="Kohli, Abhi SIEP-IUV/I/C" userId="8df466d3-0db6-41cc-b122-11a6f246ec8b" providerId="ADAL" clId="{6ADDF83B-BC1C-427E-B398-69A66A75FB58}" dt="2024-08-25T16:43:12.653" v="849" actId="478"/>
          <ac:picMkLst>
            <pc:docMk/>
            <pc:sldMk cId="194519839" sldId="283"/>
            <ac:picMk id="8" creationId="{E154C348-6242-43CC-9F95-6B1820BF726B}"/>
          </ac:picMkLst>
        </pc:picChg>
        <pc:picChg chg="del mod">
          <ac:chgData name="Kohli, Abhi SIEP-IUV/I/C" userId="8df466d3-0db6-41cc-b122-11a6f246ec8b" providerId="ADAL" clId="{6ADDF83B-BC1C-427E-B398-69A66A75FB58}" dt="2024-08-18T17:13:27.180" v="225" actId="478"/>
          <ac:picMkLst>
            <pc:docMk/>
            <pc:sldMk cId="194519839" sldId="283"/>
            <ac:picMk id="15" creationId="{602E4426-820E-41BC-8AAC-F8120C0080A3}"/>
          </ac:picMkLst>
        </pc:picChg>
        <pc:picChg chg="del">
          <ac:chgData name="Kohli, Abhi SIEP-IUV/I/C" userId="8df466d3-0db6-41cc-b122-11a6f246ec8b" providerId="ADAL" clId="{6ADDF83B-BC1C-427E-B398-69A66A75FB58}" dt="2024-08-25T16:43:13.805" v="850" actId="478"/>
          <ac:picMkLst>
            <pc:docMk/>
            <pc:sldMk cId="194519839" sldId="283"/>
            <ac:picMk id="19" creationId="{5BE42EF0-048E-4F2B-8E32-B9FEFD6DBFDE}"/>
          </ac:picMkLst>
        </pc:picChg>
      </pc:sldChg>
      <pc:sldChg chg="addSp modSp del mod ord">
        <pc:chgData name="Kohli, Abhi SIEP-IUV/I/C" userId="8df466d3-0db6-41cc-b122-11a6f246ec8b" providerId="ADAL" clId="{6ADDF83B-BC1C-427E-B398-69A66A75FB58}" dt="2024-08-29T02:57:18.716" v="5432" actId="47"/>
        <pc:sldMkLst>
          <pc:docMk/>
          <pc:sldMk cId="1110474497" sldId="284"/>
        </pc:sldMkLst>
        <pc:spChg chg="add mod">
          <ac:chgData name="Kohli, Abhi SIEP-IUV/I/C" userId="8df466d3-0db6-41cc-b122-11a6f246ec8b" providerId="ADAL" clId="{6ADDF83B-BC1C-427E-B398-69A66A75FB58}" dt="2024-08-25T16:32:43.329" v="817" actId="1076"/>
          <ac:spMkLst>
            <pc:docMk/>
            <pc:sldMk cId="1110474497" sldId="284"/>
            <ac:spMk id="2" creationId="{A05C4002-A4F1-A1EC-E2AF-76F5B5551A53}"/>
          </ac:spMkLst>
        </pc:spChg>
        <pc:picChg chg="mod">
          <ac:chgData name="Kohli, Abhi SIEP-IUV/I/C" userId="8df466d3-0db6-41cc-b122-11a6f246ec8b" providerId="ADAL" clId="{6ADDF83B-BC1C-427E-B398-69A66A75FB58}" dt="2024-08-25T16:48:56.905" v="885" actId="1076"/>
          <ac:picMkLst>
            <pc:docMk/>
            <pc:sldMk cId="1110474497" sldId="284"/>
            <ac:picMk id="18" creationId="{76DF21C1-D0BE-420B-B59B-4D9F0BEB9551}"/>
          </ac:picMkLst>
        </pc:picChg>
        <pc:picChg chg="mod">
          <ac:chgData name="Kohli, Abhi SIEP-IUV/I/C" userId="8df466d3-0db6-41cc-b122-11a6f246ec8b" providerId="ADAL" clId="{6ADDF83B-BC1C-427E-B398-69A66A75FB58}" dt="2024-08-25T16:48:54.281" v="884" actId="1076"/>
          <ac:picMkLst>
            <pc:docMk/>
            <pc:sldMk cId="1110474497" sldId="284"/>
            <ac:picMk id="19" creationId="{A8C4F494-E6D1-456A-AC06-0F65EEF19808}"/>
          </ac:picMkLst>
        </pc:picChg>
        <pc:picChg chg="mod">
          <ac:chgData name="Kohli, Abhi SIEP-IUV/I/C" userId="8df466d3-0db6-41cc-b122-11a6f246ec8b" providerId="ADAL" clId="{6ADDF83B-BC1C-427E-B398-69A66A75FB58}" dt="2024-08-25T16:48:52.291" v="883" actId="1076"/>
          <ac:picMkLst>
            <pc:docMk/>
            <pc:sldMk cId="1110474497" sldId="284"/>
            <ac:picMk id="20" creationId="{4B42B73B-1D53-4B22-AE55-5A75CEFA52F6}"/>
          </ac:picMkLst>
        </pc:picChg>
      </pc:sldChg>
      <pc:sldChg chg="addSp delSp modSp mod">
        <pc:chgData name="Kohli, Abhi SIEP-IUV/I/C" userId="8df466d3-0db6-41cc-b122-11a6f246ec8b" providerId="ADAL" clId="{6ADDF83B-BC1C-427E-B398-69A66A75FB58}" dt="2024-08-28T19:25:55.392" v="4756" actId="1076"/>
        <pc:sldMkLst>
          <pc:docMk/>
          <pc:sldMk cId="1405961581" sldId="285"/>
        </pc:sldMkLst>
        <pc:spChg chg="mod">
          <ac:chgData name="Kohli, Abhi SIEP-IUV/I/C" userId="8df466d3-0db6-41cc-b122-11a6f246ec8b" providerId="ADAL" clId="{6ADDF83B-BC1C-427E-B398-69A66A75FB58}" dt="2024-08-25T21:07:24.462" v="2881" actId="948"/>
          <ac:spMkLst>
            <pc:docMk/>
            <pc:sldMk cId="1405961581" sldId="285"/>
            <ac:spMk id="2" creationId="{19256B7E-1633-44AB-8584-82DF5B726834}"/>
          </ac:spMkLst>
        </pc:spChg>
        <pc:spChg chg="add del mod">
          <ac:chgData name="Kohli, Abhi SIEP-IUV/I/C" userId="8df466d3-0db6-41cc-b122-11a6f246ec8b" providerId="ADAL" clId="{6ADDF83B-BC1C-427E-B398-69A66A75FB58}" dt="2024-08-28T19:15:00.294" v="4550" actId="478"/>
          <ac:spMkLst>
            <pc:docMk/>
            <pc:sldMk cId="1405961581" sldId="285"/>
            <ac:spMk id="3" creationId="{1DAAB74A-8404-BA0C-2EA0-56E9D40F24D7}"/>
          </ac:spMkLst>
        </pc:spChg>
        <pc:spChg chg="mod">
          <ac:chgData name="Kohli, Abhi SIEP-IUV/I/C" userId="8df466d3-0db6-41cc-b122-11a6f246ec8b" providerId="ADAL" clId="{6ADDF83B-BC1C-427E-B398-69A66A75FB58}" dt="2024-08-28T19:18:03.340" v="4599"/>
          <ac:spMkLst>
            <pc:docMk/>
            <pc:sldMk cId="1405961581" sldId="285"/>
            <ac:spMk id="13" creationId="{0DF18C3A-DE09-4277-9AE6-6C572D1674B6}"/>
          </ac:spMkLst>
        </pc:spChg>
        <pc:graphicFrameChg chg="add mod ord modVis replST">
          <ac:chgData name="Kohli, Abhi SIEP-IUV/I/C" userId="8df466d3-0db6-41cc-b122-11a6f246ec8b" providerId="ADAL" clId="{6ADDF83B-BC1C-427E-B398-69A66A75FB58}" dt="2024-08-25T21:07:24.509" v="2898"/>
          <ac:graphicFrameMkLst>
            <pc:docMk/>
            <pc:sldMk cId="1405961581" sldId="285"/>
            <ac:graphicFrameMk id="4" creationId="{948B6210-93B0-F7C4-86CD-D065286ED34F}"/>
          </ac:graphicFrameMkLst>
        </pc:graphicFrameChg>
        <pc:picChg chg="add mod">
          <ac:chgData name="Kohli, Abhi SIEP-IUV/I/C" userId="8df466d3-0db6-41cc-b122-11a6f246ec8b" providerId="ADAL" clId="{6ADDF83B-BC1C-427E-B398-69A66A75FB58}" dt="2024-08-28T19:25:55.392" v="4756" actId="1076"/>
          <ac:picMkLst>
            <pc:docMk/>
            <pc:sldMk cId="1405961581" sldId="285"/>
            <ac:picMk id="10" creationId="{A2E33C80-08F6-F9D9-7AB2-396769EE4F43}"/>
          </ac:picMkLst>
        </pc:picChg>
      </pc:sldChg>
      <pc:sldChg chg="delSp mod ord">
        <pc:chgData name="Kohli, Abhi SIEP-IUV/I/C" userId="8df466d3-0db6-41cc-b122-11a6f246ec8b" providerId="ADAL" clId="{6ADDF83B-BC1C-427E-B398-69A66A75FB58}" dt="2024-08-26T22:01:17.537" v="3091" actId="478"/>
        <pc:sldMkLst>
          <pc:docMk/>
          <pc:sldMk cId="2836711106" sldId="286"/>
        </pc:sldMkLst>
        <pc:spChg chg="del">
          <ac:chgData name="Kohli, Abhi SIEP-IUV/I/C" userId="8df466d3-0db6-41cc-b122-11a6f246ec8b" providerId="ADAL" clId="{6ADDF83B-BC1C-427E-B398-69A66A75FB58}" dt="2024-08-26T22:01:17.537" v="3091" actId="478"/>
          <ac:spMkLst>
            <pc:docMk/>
            <pc:sldMk cId="2836711106" sldId="286"/>
            <ac:spMk id="4" creationId="{A208D9D6-6B24-46BA-99AF-69254D56D5FA}"/>
          </ac:spMkLst>
        </pc:spChg>
      </pc:sldChg>
      <pc:sldChg chg="addSp modSp mod">
        <pc:chgData name="Kohli, Abhi SIEP-IUV/I/C" userId="8df466d3-0db6-41cc-b122-11a6f246ec8b" providerId="ADAL" clId="{6ADDF83B-BC1C-427E-B398-69A66A75FB58}" dt="2024-08-28T19:16:57.783" v="4573" actId="1076"/>
        <pc:sldMkLst>
          <pc:docMk/>
          <pc:sldMk cId="1054441151" sldId="287"/>
        </pc:sldMkLst>
        <pc:picChg chg="mod">
          <ac:chgData name="Kohli, Abhi SIEP-IUV/I/C" userId="8df466d3-0db6-41cc-b122-11a6f246ec8b" providerId="ADAL" clId="{6ADDF83B-BC1C-427E-B398-69A66A75FB58}" dt="2024-08-28T19:16:37.983" v="4566" actId="1076"/>
          <ac:picMkLst>
            <pc:docMk/>
            <pc:sldMk cId="1054441151" sldId="287"/>
            <ac:picMk id="9" creationId="{886CC373-CA2B-4BEA-9131-C1A9F6D53301}"/>
          </ac:picMkLst>
        </pc:picChg>
        <pc:picChg chg="mod modCrop">
          <ac:chgData name="Kohli, Abhi SIEP-IUV/I/C" userId="8df466d3-0db6-41cc-b122-11a6f246ec8b" providerId="ADAL" clId="{6ADDF83B-BC1C-427E-B398-69A66A75FB58}" dt="2024-08-28T19:16:50.094" v="4570" actId="732"/>
          <ac:picMkLst>
            <pc:docMk/>
            <pc:sldMk cId="1054441151" sldId="287"/>
            <ac:picMk id="12" creationId="{BA8F4E60-9629-415B-8AFA-8FE33A736CE5}"/>
          </ac:picMkLst>
        </pc:picChg>
        <pc:picChg chg="add mod modCrop">
          <ac:chgData name="Kohli, Abhi SIEP-IUV/I/C" userId="8df466d3-0db6-41cc-b122-11a6f246ec8b" providerId="ADAL" clId="{6ADDF83B-BC1C-427E-B398-69A66A75FB58}" dt="2024-08-28T19:16:57.783" v="4573" actId="1076"/>
          <ac:picMkLst>
            <pc:docMk/>
            <pc:sldMk cId="1054441151" sldId="287"/>
            <ac:picMk id="17" creationId="{A275601C-A6CB-D536-41DE-61D4077A1C77}"/>
          </ac:picMkLst>
        </pc:picChg>
        <pc:picChg chg="mod modCrop">
          <ac:chgData name="Kohli, Abhi SIEP-IUV/I/C" userId="8df466d3-0db6-41cc-b122-11a6f246ec8b" providerId="ADAL" clId="{6ADDF83B-BC1C-427E-B398-69A66A75FB58}" dt="2024-08-28T19:16:40.400" v="4567" actId="1076"/>
          <ac:picMkLst>
            <pc:docMk/>
            <pc:sldMk cId="1054441151" sldId="287"/>
            <ac:picMk id="18" creationId="{367EC338-6233-4CDA-A692-5F42FDC895E8}"/>
          </ac:picMkLst>
        </pc:picChg>
        <pc:picChg chg="add mod modCrop">
          <ac:chgData name="Kohli, Abhi SIEP-IUV/I/C" userId="8df466d3-0db6-41cc-b122-11a6f246ec8b" providerId="ADAL" clId="{6ADDF83B-BC1C-427E-B398-69A66A75FB58}" dt="2024-08-28T19:16:54.792" v="4572" actId="1076"/>
          <ac:picMkLst>
            <pc:docMk/>
            <pc:sldMk cId="1054441151" sldId="287"/>
            <ac:picMk id="20" creationId="{3A0F103E-1E63-5F5A-F333-6E48400AC549}"/>
          </ac:picMkLst>
        </pc:picChg>
      </pc:sldChg>
      <pc:sldChg chg="addSp delSp modSp del mod ord">
        <pc:chgData name="Kohli, Abhi SIEP-IUV/I/C" userId="8df466d3-0db6-41cc-b122-11a6f246ec8b" providerId="ADAL" clId="{6ADDF83B-BC1C-427E-B398-69A66A75FB58}" dt="2024-08-28T19:11:07.678" v="4549" actId="47"/>
        <pc:sldMkLst>
          <pc:docMk/>
          <pc:sldMk cId="170417218" sldId="289"/>
        </pc:sldMkLst>
        <pc:spChg chg="mod">
          <ac:chgData name="Kohli, Abhi SIEP-IUV/I/C" userId="8df466d3-0db6-41cc-b122-11a6f246ec8b" providerId="ADAL" clId="{6ADDF83B-BC1C-427E-B398-69A66A75FB58}" dt="2024-08-26T22:43:48.771" v="3366" actId="948"/>
          <ac:spMkLst>
            <pc:docMk/>
            <pc:sldMk cId="170417218" sldId="289"/>
            <ac:spMk id="2" creationId="{2A975C8E-D448-423E-AD2B-75C61E8F046F}"/>
          </ac:spMkLst>
        </pc:spChg>
        <pc:spChg chg="add del mod modVis">
          <ac:chgData name="Kohli, Abhi SIEP-IUV/I/C" userId="8df466d3-0db6-41cc-b122-11a6f246ec8b" providerId="ADAL" clId="{6ADDF83B-BC1C-427E-B398-69A66A75FB58}" dt="2024-08-26T22:43:47.320" v="3349"/>
          <ac:spMkLst>
            <pc:docMk/>
            <pc:sldMk cId="170417218" sldId="289"/>
            <ac:spMk id="9" creationId="{44C7C21B-02CB-0936-676F-AE18A349B632}"/>
          </ac:spMkLst>
        </pc:spChg>
        <pc:spChg chg="add del mod modVis">
          <ac:chgData name="Kohli, Abhi SIEP-IUV/I/C" userId="8df466d3-0db6-41cc-b122-11a6f246ec8b" providerId="ADAL" clId="{6ADDF83B-BC1C-427E-B398-69A66A75FB58}" dt="2024-08-26T22:43:48.836" v="3390"/>
          <ac:spMkLst>
            <pc:docMk/>
            <pc:sldMk cId="170417218" sldId="289"/>
            <ac:spMk id="11" creationId="{1DF79E4A-F2D2-96DB-7AD1-AA7C24737E7E}"/>
          </ac:spMkLst>
        </pc:spChg>
        <pc:graphicFrameChg chg="add mod ord modVis replST">
          <ac:chgData name="Kohli, Abhi SIEP-IUV/I/C" userId="8df466d3-0db6-41cc-b122-11a6f246ec8b" providerId="ADAL" clId="{6ADDF83B-BC1C-427E-B398-69A66A75FB58}" dt="2024-08-26T22:43:48.837" v="3392"/>
          <ac:graphicFrameMkLst>
            <pc:docMk/>
            <pc:sldMk cId="170417218" sldId="289"/>
            <ac:graphicFrameMk id="10" creationId="{41A981BC-FC32-A8CA-B5A8-9C7236822FEE}"/>
          </ac:graphicFrameMkLst>
        </pc:graphicFrameChg>
      </pc:sldChg>
      <pc:sldChg chg="addSp delSp modSp del mod">
        <pc:chgData name="Kohli, Abhi SIEP-IUV/I/C" userId="8df466d3-0db6-41cc-b122-11a6f246ec8b" providerId="ADAL" clId="{6ADDF83B-BC1C-427E-B398-69A66A75FB58}" dt="2024-08-26T20:56:02.769" v="3072" actId="2696"/>
        <pc:sldMkLst>
          <pc:docMk/>
          <pc:sldMk cId="1902342672" sldId="290"/>
        </pc:sldMkLst>
        <pc:spChg chg="mod">
          <ac:chgData name="Kohli, Abhi SIEP-IUV/I/C" userId="8df466d3-0db6-41cc-b122-11a6f246ec8b" providerId="ADAL" clId="{6ADDF83B-BC1C-427E-B398-69A66A75FB58}" dt="2024-08-25T20:44:36.768" v="2630" actId="948"/>
          <ac:spMkLst>
            <pc:docMk/>
            <pc:sldMk cId="1902342672" sldId="290"/>
            <ac:spMk id="2" creationId="{0BAD2928-9720-402F-BC43-9D3339A16F05}"/>
          </ac:spMkLst>
        </pc:spChg>
        <pc:spChg chg="del mod">
          <ac:chgData name="Kohli, Abhi SIEP-IUV/I/C" userId="8df466d3-0db6-41cc-b122-11a6f246ec8b" providerId="ADAL" clId="{6ADDF83B-BC1C-427E-B398-69A66A75FB58}" dt="2024-08-25T20:39:29.107" v="2489" actId="478"/>
          <ac:spMkLst>
            <pc:docMk/>
            <pc:sldMk cId="1902342672" sldId="290"/>
            <ac:spMk id="3" creationId="{7A5645D1-C29A-4268-B877-9297A0F0D6C6}"/>
          </ac:spMkLst>
        </pc:spChg>
        <pc:spChg chg="add del mod">
          <ac:chgData name="Kohli, Abhi SIEP-IUV/I/C" userId="8df466d3-0db6-41cc-b122-11a6f246ec8b" providerId="ADAL" clId="{6ADDF83B-BC1C-427E-B398-69A66A75FB58}" dt="2024-08-25T20:33:09.262" v="2256" actId="478"/>
          <ac:spMkLst>
            <pc:docMk/>
            <pc:sldMk cId="1902342672" sldId="290"/>
            <ac:spMk id="7" creationId="{ECA9C201-5E87-CC8B-23B9-903C96B08F4B}"/>
          </ac:spMkLst>
        </pc:spChg>
        <pc:spChg chg="add del mod">
          <ac:chgData name="Kohli, Abhi SIEP-IUV/I/C" userId="8df466d3-0db6-41cc-b122-11a6f246ec8b" providerId="ADAL" clId="{6ADDF83B-BC1C-427E-B398-69A66A75FB58}" dt="2024-08-25T20:39:31.966" v="2490" actId="478"/>
          <ac:spMkLst>
            <pc:docMk/>
            <pc:sldMk cId="1902342672" sldId="290"/>
            <ac:spMk id="11" creationId="{FC71DDBD-FA3E-CF94-CAE1-927B3D97B625}"/>
          </ac:spMkLst>
        </pc:spChg>
        <pc:spChg chg="add del mod modVis">
          <ac:chgData name="Kohli, Abhi SIEP-IUV/I/C" userId="8df466d3-0db6-41cc-b122-11a6f246ec8b" providerId="ADAL" clId="{6ADDF83B-BC1C-427E-B398-69A66A75FB58}" dt="2024-08-25T20:39:40.217" v="2517"/>
          <ac:spMkLst>
            <pc:docMk/>
            <pc:sldMk cId="1902342672" sldId="290"/>
            <ac:spMk id="12" creationId="{E60E5D34-3A21-F965-E0A1-FEB140401E8A}"/>
          </ac:spMkLst>
        </pc:spChg>
        <pc:spChg chg="add del mod modVis">
          <ac:chgData name="Kohli, Abhi SIEP-IUV/I/C" userId="8df466d3-0db6-41cc-b122-11a6f246ec8b" providerId="ADAL" clId="{6ADDF83B-BC1C-427E-B398-69A66A75FB58}" dt="2024-08-25T20:44:33.408" v="2610"/>
          <ac:spMkLst>
            <pc:docMk/>
            <pc:sldMk cId="1902342672" sldId="290"/>
            <ac:spMk id="14" creationId="{3CCB4BFE-D89D-0815-72D8-17D8D6426CCC}"/>
          </ac:spMkLst>
        </pc:spChg>
        <pc:spChg chg="add del mod modVis">
          <ac:chgData name="Kohli, Abhi SIEP-IUV/I/C" userId="8df466d3-0db6-41cc-b122-11a6f246ec8b" providerId="ADAL" clId="{6ADDF83B-BC1C-427E-B398-69A66A75FB58}" dt="2024-08-25T20:44:36.815" v="2654"/>
          <ac:spMkLst>
            <pc:docMk/>
            <pc:sldMk cId="1902342672" sldId="290"/>
            <ac:spMk id="15" creationId="{6BA380A0-ECF8-9916-95D7-7F4C6C67AE4B}"/>
          </ac:spMkLst>
        </pc:spChg>
        <pc:graphicFrameChg chg="add mod">
          <ac:chgData name="Kohli, Abhi SIEP-IUV/I/C" userId="8df466d3-0db6-41cc-b122-11a6f246ec8b" providerId="ADAL" clId="{6ADDF83B-BC1C-427E-B398-69A66A75FB58}" dt="2024-08-25T20:39:04.013" v="2487"/>
          <ac:graphicFrameMkLst>
            <pc:docMk/>
            <pc:sldMk cId="1902342672" sldId="290"/>
            <ac:graphicFrameMk id="8" creationId="{F9BFCCFE-CB99-FD49-8F3F-19D36492BBA6}"/>
          </ac:graphicFrameMkLst>
        </pc:graphicFrameChg>
        <pc:graphicFrameChg chg="add mod modGraphic">
          <ac:chgData name="Kohli, Abhi SIEP-IUV/I/C" userId="8df466d3-0db6-41cc-b122-11a6f246ec8b" providerId="ADAL" clId="{6ADDF83B-BC1C-427E-B398-69A66A75FB58}" dt="2024-08-25T20:44:13.892" v="2578" actId="404"/>
          <ac:graphicFrameMkLst>
            <pc:docMk/>
            <pc:sldMk cId="1902342672" sldId="290"/>
            <ac:graphicFrameMk id="9" creationId="{1FE8857B-E929-A9F0-34F0-93C1696F52D8}"/>
          </ac:graphicFrameMkLst>
        </pc:graphicFrameChg>
        <pc:graphicFrameChg chg="add mod ord modVis replST">
          <ac:chgData name="Kohli, Abhi SIEP-IUV/I/C" userId="8df466d3-0db6-41cc-b122-11a6f246ec8b" providerId="ADAL" clId="{6ADDF83B-BC1C-427E-B398-69A66A75FB58}" dt="2024-08-25T20:44:36.821" v="2656"/>
          <ac:graphicFrameMkLst>
            <pc:docMk/>
            <pc:sldMk cId="1902342672" sldId="290"/>
            <ac:graphicFrameMk id="13" creationId="{F1CE28E8-794B-D4C1-73AD-F236D58B878C}"/>
          </ac:graphicFrameMkLst>
        </pc:graphicFrameChg>
      </pc:sldChg>
      <pc:sldChg chg="addSp modSp del ord">
        <pc:chgData name="Kohli, Abhi SIEP-IUV/I/C" userId="8df466d3-0db6-41cc-b122-11a6f246ec8b" providerId="ADAL" clId="{6ADDF83B-BC1C-427E-B398-69A66A75FB58}" dt="2024-08-29T02:57:17.627" v="5431" actId="47"/>
        <pc:sldMkLst>
          <pc:docMk/>
          <pc:sldMk cId="1825821541" sldId="292"/>
        </pc:sldMkLst>
        <pc:spChg chg="add mod">
          <ac:chgData name="Kohli, Abhi SIEP-IUV/I/C" userId="8df466d3-0db6-41cc-b122-11a6f246ec8b" providerId="ADAL" clId="{6ADDF83B-BC1C-427E-B398-69A66A75FB58}" dt="2024-08-16T16:52:24.514" v="29"/>
          <ac:spMkLst>
            <pc:docMk/>
            <pc:sldMk cId="1825821541" sldId="292"/>
            <ac:spMk id="2" creationId="{12A94F59-A878-857B-B2F5-706FC6977D62}"/>
          </ac:spMkLst>
        </pc:spChg>
      </pc:sldChg>
      <pc:sldChg chg="addSp delSp modSp mod">
        <pc:chgData name="Kohli, Abhi SIEP-IUV/I/C" userId="8df466d3-0db6-41cc-b122-11a6f246ec8b" providerId="ADAL" clId="{6ADDF83B-BC1C-427E-B398-69A66A75FB58}" dt="2024-08-26T22:42:08.938" v="3320"/>
        <pc:sldMkLst>
          <pc:docMk/>
          <pc:sldMk cId="1445121497" sldId="293"/>
        </pc:sldMkLst>
        <pc:spChg chg="mod">
          <ac:chgData name="Kohli, Abhi SIEP-IUV/I/C" userId="8df466d3-0db6-41cc-b122-11a6f246ec8b" providerId="ADAL" clId="{6ADDF83B-BC1C-427E-B398-69A66A75FB58}" dt="2024-08-26T22:42:08.859" v="3294" actId="948"/>
          <ac:spMkLst>
            <pc:docMk/>
            <pc:sldMk cId="1445121497" sldId="293"/>
            <ac:spMk id="2" creationId="{438EF96E-F5C2-4706-8093-072461FC6446}"/>
          </ac:spMkLst>
        </pc:spChg>
        <pc:spChg chg="add del mod">
          <ac:chgData name="Kohli, Abhi SIEP-IUV/I/C" userId="8df466d3-0db6-41cc-b122-11a6f246ec8b" providerId="ADAL" clId="{6ADDF83B-BC1C-427E-B398-69A66A75FB58}" dt="2024-08-25T16:34:16.809" v="822" actId="478"/>
          <ac:spMkLst>
            <pc:docMk/>
            <pc:sldMk cId="1445121497" sldId="293"/>
            <ac:spMk id="3" creationId="{5408C51D-E114-6F11-B269-C1D217A4E460}"/>
          </ac:spMkLst>
        </pc:spChg>
        <pc:spChg chg="add del mod modVis">
          <ac:chgData name="Kohli, Abhi SIEP-IUV/I/C" userId="8df466d3-0db6-41cc-b122-11a6f246ec8b" providerId="ADAL" clId="{6ADDF83B-BC1C-427E-B398-69A66A75FB58}" dt="2024-08-26T22:41:58.260" v="3215"/>
          <ac:spMkLst>
            <pc:docMk/>
            <pc:sldMk cId="1445121497" sldId="293"/>
            <ac:spMk id="8" creationId="{FCA47A99-059D-77EB-C6D5-34EC4E553169}"/>
          </ac:spMkLst>
        </pc:spChg>
        <pc:spChg chg="add del mod modVis">
          <ac:chgData name="Kohli, Abhi SIEP-IUV/I/C" userId="8df466d3-0db6-41cc-b122-11a6f246ec8b" providerId="ADAL" clId="{6ADDF83B-BC1C-427E-B398-69A66A75FB58}" dt="2024-08-26T22:42:00.411" v="3262"/>
          <ac:spMkLst>
            <pc:docMk/>
            <pc:sldMk cId="1445121497" sldId="293"/>
            <ac:spMk id="12" creationId="{86879C8A-DC83-C6B4-02E2-4D90598BFB6B}"/>
          </ac:spMkLst>
        </pc:spChg>
        <pc:spChg chg="add del mod modVis">
          <ac:chgData name="Kohli, Abhi SIEP-IUV/I/C" userId="8df466d3-0db6-41cc-b122-11a6f246ec8b" providerId="ADAL" clId="{6ADDF83B-BC1C-427E-B398-69A66A75FB58}" dt="2024-08-26T22:42:02.767" v="3290"/>
          <ac:spMkLst>
            <pc:docMk/>
            <pc:sldMk cId="1445121497" sldId="293"/>
            <ac:spMk id="13" creationId="{D46CA0A6-0A71-858F-BD2A-0A7C480FB04B}"/>
          </ac:spMkLst>
        </pc:spChg>
        <pc:spChg chg="add del mod modVis">
          <ac:chgData name="Kohli, Abhi SIEP-IUV/I/C" userId="8df466d3-0db6-41cc-b122-11a6f246ec8b" providerId="ADAL" clId="{6ADDF83B-BC1C-427E-B398-69A66A75FB58}" dt="2024-08-26T22:42:08.922" v="3318"/>
          <ac:spMkLst>
            <pc:docMk/>
            <pc:sldMk cId="1445121497" sldId="293"/>
            <ac:spMk id="14" creationId="{1338DF75-0862-9ADC-656E-99CAF3B627EA}"/>
          </ac:spMkLst>
        </pc:spChg>
        <pc:graphicFrameChg chg="add mod ord modVis replST">
          <ac:chgData name="Kohli, Abhi SIEP-IUV/I/C" userId="8df466d3-0db6-41cc-b122-11a6f246ec8b" providerId="ADAL" clId="{6ADDF83B-BC1C-427E-B398-69A66A75FB58}" dt="2024-08-26T22:42:08.938" v="3320"/>
          <ac:graphicFrameMkLst>
            <pc:docMk/>
            <pc:sldMk cId="1445121497" sldId="293"/>
            <ac:graphicFrameMk id="10" creationId="{C8EB0AF7-6381-7680-B8B2-4FC5B396C8F7}"/>
          </ac:graphicFrameMkLst>
        </pc:graphicFrameChg>
        <pc:picChg chg="del">
          <ac:chgData name="Kohli, Abhi SIEP-IUV/I/C" userId="8df466d3-0db6-41cc-b122-11a6f246ec8b" providerId="ADAL" clId="{6ADDF83B-BC1C-427E-B398-69A66A75FB58}" dt="2024-08-25T16:34:04.663" v="818" actId="478"/>
          <ac:picMkLst>
            <pc:docMk/>
            <pc:sldMk cId="1445121497" sldId="293"/>
            <ac:picMk id="7" creationId="{5DF2C7B5-DCE9-4254-8A3E-C0828DBFEAB5}"/>
          </ac:picMkLst>
        </pc:picChg>
        <pc:picChg chg="add del mod">
          <ac:chgData name="Kohli, Abhi SIEP-IUV/I/C" userId="8df466d3-0db6-41cc-b122-11a6f246ec8b" providerId="ADAL" clId="{6ADDF83B-BC1C-427E-B398-69A66A75FB58}" dt="2024-08-26T16:01:59.336" v="3061" actId="478"/>
          <ac:picMkLst>
            <pc:docMk/>
            <pc:sldMk cId="1445121497" sldId="293"/>
            <ac:picMk id="7" creationId="{F3AF3D78-5BBD-D4AD-E6B7-E7F15DF95182}"/>
          </ac:picMkLst>
        </pc:picChg>
        <pc:picChg chg="add mod">
          <ac:chgData name="Kohli, Abhi SIEP-IUV/I/C" userId="8df466d3-0db6-41cc-b122-11a6f246ec8b" providerId="ADAL" clId="{6ADDF83B-BC1C-427E-B398-69A66A75FB58}" dt="2024-08-25T16:36:07.349" v="841" actId="1076"/>
          <ac:picMkLst>
            <pc:docMk/>
            <pc:sldMk cId="1445121497" sldId="293"/>
            <ac:picMk id="9" creationId="{F2EEC72F-8104-ABC3-262E-B596B6DDE157}"/>
          </ac:picMkLst>
        </pc:picChg>
        <pc:picChg chg="add mod">
          <ac:chgData name="Kohli, Abhi SIEP-IUV/I/C" userId="8df466d3-0db6-41cc-b122-11a6f246ec8b" providerId="ADAL" clId="{6ADDF83B-BC1C-427E-B398-69A66A75FB58}" dt="2024-08-26T16:01:07.797" v="3046" actId="1076"/>
          <ac:picMkLst>
            <pc:docMk/>
            <pc:sldMk cId="1445121497" sldId="293"/>
            <ac:picMk id="11" creationId="{BB658D70-8568-3EF0-AC1C-BD5BEAE173B4}"/>
          </ac:picMkLst>
        </pc:picChg>
      </pc:sldChg>
      <pc:sldChg chg="addSp delSp modSp mod">
        <pc:chgData name="Kohli, Abhi SIEP-IUV/I/C" userId="8df466d3-0db6-41cc-b122-11a6f246ec8b" providerId="ADAL" clId="{6ADDF83B-BC1C-427E-B398-69A66A75FB58}" dt="2024-08-29T02:40:04.101" v="5082" actId="478"/>
        <pc:sldMkLst>
          <pc:docMk/>
          <pc:sldMk cId="663170188" sldId="294"/>
        </pc:sldMkLst>
        <pc:spChg chg="add del mod">
          <ac:chgData name="Kohli, Abhi SIEP-IUV/I/C" userId="8df466d3-0db6-41cc-b122-11a6f246ec8b" providerId="ADAL" clId="{6ADDF83B-BC1C-427E-B398-69A66A75FB58}" dt="2024-08-29T02:39:59.455" v="5081" actId="478"/>
          <ac:spMkLst>
            <pc:docMk/>
            <pc:sldMk cId="663170188" sldId="294"/>
            <ac:spMk id="2" creationId="{5487C53E-0C65-465F-08C8-CD33E6C470F7}"/>
          </ac:spMkLst>
        </pc:spChg>
        <pc:spChg chg="del">
          <ac:chgData name="Kohli, Abhi SIEP-IUV/I/C" userId="8df466d3-0db6-41cc-b122-11a6f246ec8b" providerId="ADAL" clId="{6ADDF83B-BC1C-427E-B398-69A66A75FB58}" dt="2024-08-29T02:40:04.101" v="5082" actId="478"/>
          <ac:spMkLst>
            <pc:docMk/>
            <pc:sldMk cId="663170188" sldId="294"/>
            <ac:spMk id="6" creationId="{67E53986-2158-E12D-3352-2A46785BA7ED}"/>
          </ac:spMkLst>
        </pc:spChg>
      </pc:sldChg>
      <pc:sldChg chg="addSp modSp mod">
        <pc:chgData name="Kohli, Abhi SIEP-IUV/I/C" userId="8df466d3-0db6-41cc-b122-11a6f246ec8b" providerId="ADAL" clId="{6ADDF83B-BC1C-427E-B398-69A66A75FB58}" dt="2024-08-20T21:13:05.964" v="793" actId="1076"/>
        <pc:sldMkLst>
          <pc:docMk/>
          <pc:sldMk cId="1437855027" sldId="295"/>
        </pc:sldMkLst>
        <pc:graphicFrameChg chg="mod modGraphic">
          <ac:chgData name="Kohli, Abhi SIEP-IUV/I/C" userId="8df466d3-0db6-41cc-b122-11a6f246ec8b" providerId="ADAL" clId="{6ADDF83B-BC1C-427E-B398-69A66A75FB58}" dt="2024-08-20T00:19:26.270" v="614"/>
          <ac:graphicFrameMkLst>
            <pc:docMk/>
            <pc:sldMk cId="1437855027" sldId="295"/>
            <ac:graphicFrameMk id="26" creationId="{126A5053-CD74-45F0-D0CB-7E03015AAAFC}"/>
          </ac:graphicFrameMkLst>
        </pc:graphicFrameChg>
        <pc:graphicFrameChg chg="mod modGraphic">
          <ac:chgData name="Kohli, Abhi SIEP-IUV/I/C" userId="8df466d3-0db6-41cc-b122-11a6f246ec8b" providerId="ADAL" clId="{6ADDF83B-BC1C-427E-B398-69A66A75FB58}" dt="2024-08-20T21:13:05.964" v="793" actId="1076"/>
          <ac:graphicFrameMkLst>
            <pc:docMk/>
            <pc:sldMk cId="1437855027" sldId="295"/>
            <ac:graphicFrameMk id="29" creationId="{7DE643BE-4C2A-7B3B-C224-CB8746603448}"/>
          </ac:graphicFrameMkLst>
        </pc:graphicFrameChg>
        <pc:graphicFrameChg chg="add mod modGraphic">
          <ac:chgData name="Kohli, Abhi SIEP-IUV/I/C" userId="8df466d3-0db6-41cc-b122-11a6f246ec8b" providerId="ADAL" clId="{6ADDF83B-BC1C-427E-B398-69A66A75FB58}" dt="2024-08-16T16:53:24.456" v="41" actId="1076"/>
          <ac:graphicFrameMkLst>
            <pc:docMk/>
            <pc:sldMk cId="1437855027" sldId="295"/>
            <ac:graphicFrameMk id="30" creationId="{0F231504-F386-1368-B340-0EB013B62C76}"/>
          </ac:graphicFrameMkLst>
        </pc:graphicFrameChg>
      </pc:sldChg>
      <pc:sldChg chg="new del">
        <pc:chgData name="Kohli, Abhi SIEP-IUV/I/C" userId="8df466d3-0db6-41cc-b122-11a6f246ec8b" providerId="ADAL" clId="{6ADDF83B-BC1C-427E-B398-69A66A75FB58}" dt="2024-08-19T21:16:23.311" v="451" actId="47"/>
        <pc:sldMkLst>
          <pc:docMk/>
          <pc:sldMk cId="1931734338" sldId="296"/>
        </pc:sldMkLst>
      </pc:sldChg>
      <pc:sldChg chg="modSp del mod">
        <pc:chgData name="Kohli, Abhi SIEP-IUV/I/C" userId="8df466d3-0db6-41cc-b122-11a6f246ec8b" providerId="ADAL" clId="{6ADDF83B-BC1C-427E-B398-69A66A75FB58}" dt="2024-08-20T15:13:43.705" v="780" actId="47"/>
        <pc:sldMkLst>
          <pc:docMk/>
          <pc:sldMk cId="1941009218" sldId="297"/>
        </pc:sldMkLst>
        <pc:spChg chg="mod">
          <ac:chgData name="Kohli, Abhi SIEP-IUV/I/C" userId="8df466d3-0db6-41cc-b122-11a6f246ec8b" providerId="ADAL" clId="{6ADDF83B-BC1C-427E-B398-69A66A75FB58}" dt="2024-08-20T00:27:19.545" v="779" actId="14100"/>
          <ac:spMkLst>
            <pc:docMk/>
            <pc:sldMk cId="1941009218" sldId="297"/>
            <ac:spMk id="3" creationId="{26CEF3A0-AC1B-43D7-BA36-AF12DC27AF7C}"/>
          </ac:spMkLst>
        </pc:spChg>
        <pc:spChg chg="mod">
          <ac:chgData name="Kohli, Abhi SIEP-IUV/I/C" userId="8df466d3-0db6-41cc-b122-11a6f246ec8b" providerId="ADAL" clId="{6ADDF83B-BC1C-427E-B398-69A66A75FB58}" dt="2024-08-20T00:27:09.421" v="777" actId="20577"/>
          <ac:spMkLst>
            <pc:docMk/>
            <pc:sldMk cId="1941009218" sldId="297"/>
            <ac:spMk id="10" creationId="{D32C0BEC-EC48-413F-A4EF-492452612218}"/>
          </ac:spMkLst>
        </pc:spChg>
        <pc:spChg chg="mod">
          <ac:chgData name="Kohli, Abhi SIEP-IUV/I/C" userId="8df466d3-0db6-41cc-b122-11a6f246ec8b" providerId="ADAL" clId="{6ADDF83B-BC1C-427E-B398-69A66A75FB58}" dt="2024-08-20T00:26:46.696" v="768" actId="1076"/>
          <ac:spMkLst>
            <pc:docMk/>
            <pc:sldMk cId="1941009218" sldId="297"/>
            <ac:spMk id="13" creationId="{E5FE5E26-6093-453A-A9A8-A871617845BE}"/>
          </ac:spMkLst>
        </pc:spChg>
        <pc:spChg chg="mod">
          <ac:chgData name="Kohli, Abhi SIEP-IUV/I/C" userId="8df466d3-0db6-41cc-b122-11a6f246ec8b" providerId="ADAL" clId="{6ADDF83B-BC1C-427E-B398-69A66A75FB58}" dt="2024-08-20T00:26:50.322" v="770" actId="1076"/>
          <ac:spMkLst>
            <pc:docMk/>
            <pc:sldMk cId="1941009218" sldId="297"/>
            <ac:spMk id="23" creationId="{4B892C04-BF71-E566-D5E2-54F9F0744A15}"/>
          </ac:spMkLst>
        </pc:spChg>
        <pc:picChg chg="mod">
          <ac:chgData name="Kohli, Abhi SIEP-IUV/I/C" userId="8df466d3-0db6-41cc-b122-11a6f246ec8b" providerId="ADAL" clId="{6ADDF83B-BC1C-427E-B398-69A66A75FB58}" dt="2024-08-20T00:26:42.904" v="767" actId="1076"/>
          <ac:picMkLst>
            <pc:docMk/>
            <pc:sldMk cId="1941009218" sldId="297"/>
            <ac:picMk id="1026" creationId="{2B11F0A1-0F4D-0D01-1DCB-F9407A70F200}"/>
          </ac:picMkLst>
        </pc:picChg>
        <pc:picChg chg="mod">
          <ac:chgData name="Kohli, Abhi SIEP-IUV/I/C" userId="8df466d3-0db6-41cc-b122-11a6f246ec8b" providerId="ADAL" clId="{6ADDF83B-BC1C-427E-B398-69A66A75FB58}" dt="2024-08-20T00:26:48.281" v="769" actId="1076"/>
          <ac:picMkLst>
            <pc:docMk/>
            <pc:sldMk cId="1941009218" sldId="297"/>
            <ac:picMk id="1028" creationId="{EFE1802E-140C-9CBE-ED3F-8C4B86D565FD}"/>
          </ac:picMkLst>
        </pc:picChg>
      </pc:sldChg>
      <pc:sldChg chg="addSp delSp modSp mod ord">
        <pc:chgData name="Kohli, Abhi SIEP-IUV/I/C" userId="8df466d3-0db6-41cc-b122-11a6f246ec8b" providerId="ADAL" clId="{6ADDF83B-BC1C-427E-B398-69A66A75FB58}" dt="2024-08-29T16:56:24.541" v="5970" actId="20577"/>
        <pc:sldMkLst>
          <pc:docMk/>
          <pc:sldMk cId="3057176406" sldId="299"/>
        </pc:sldMkLst>
        <pc:spChg chg="mod">
          <ac:chgData name="Kohli, Abhi SIEP-IUV/I/C" userId="8df466d3-0db6-41cc-b122-11a6f246ec8b" providerId="ADAL" clId="{6ADDF83B-BC1C-427E-B398-69A66A75FB58}" dt="2024-08-29T02:40:27.928" v="5083" actId="14100"/>
          <ac:spMkLst>
            <pc:docMk/>
            <pc:sldMk cId="3057176406" sldId="299"/>
            <ac:spMk id="3" creationId="{26CEF3A0-AC1B-43D7-BA36-AF12DC27AF7C}"/>
          </ac:spMkLst>
        </pc:spChg>
        <pc:spChg chg="add mod">
          <ac:chgData name="Kohli, Abhi SIEP-IUV/I/C" userId="8df466d3-0db6-41cc-b122-11a6f246ec8b" providerId="ADAL" clId="{6ADDF83B-BC1C-427E-B398-69A66A75FB58}" dt="2024-08-29T02:51:49.109" v="5429" actId="20577"/>
          <ac:spMkLst>
            <pc:docMk/>
            <pc:sldMk cId="3057176406" sldId="299"/>
            <ac:spMk id="7" creationId="{26CEF3A0-AC1B-43D7-BA36-AF12DC27AF7C}"/>
          </ac:spMkLst>
        </pc:spChg>
        <pc:spChg chg="add mod">
          <ac:chgData name="Kohli, Abhi SIEP-IUV/I/C" userId="8df466d3-0db6-41cc-b122-11a6f246ec8b" providerId="ADAL" clId="{6ADDF83B-BC1C-427E-B398-69A66A75FB58}" dt="2024-08-29T02:49:03.249" v="5308" actId="1076"/>
          <ac:spMkLst>
            <pc:docMk/>
            <pc:sldMk cId="3057176406" sldId="299"/>
            <ac:spMk id="8" creationId="{D32C0BEC-EC48-413F-A4EF-492452612218}"/>
          </ac:spMkLst>
        </pc:spChg>
        <pc:spChg chg="mod">
          <ac:chgData name="Kohli, Abhi SIEP-IUV/I/C" userId="8df466d3-0db6-41cc-b122-11a6f246ec8b" providerId="ADAL" clId="{6ADDF83B-BC1C-427E-B398-69A66A75FB58}" dt="2024-08-29T02:49:05.515" v="5309" actId="14100"/>
          <ac:spMkLst>
            <pc:docMk/>
            <pc:sldMk cId="3057176406" sldId="299"/>
            <ac:spMk id="10" creationId="{D32C0BEC-EC48-413F-A4EF-492452612218}"/>
          </ac:spMkLst>
        </pc:spChg>
        <pc:spChg chg="add mod">
          <ac:chgData name="Kohli, Abhi SIEP-IUV/I/C" userId="8df466d3-0db6-41cc-b122-11a6f246ec8b" providerId="ADAL" clId="{6ADDF83B-BC1C-427E-B398-69A66A75FB58}" dt="2024-08-29T16:56:24.541" v="5970" actId="20577"/>
          <ac:spMkLst>
            <pc:docMk/>
            <pc:sldMk cId="3057176406" sldId="299"/>
            <ac:spMk id="12" creationId="{E5FE5E26-6093-453A-A9A8-A871617845BE}"/>
          </ac:spMkLst>
        </pc:spChg>
        <pc:spChg chg="mod">
          <ac:chgData name="Kohli, Abhi SIEP-IUV/I/C" userId="8df466d3-0db6-41cc-b122-11a6f246ec8b" providerId="ADAL" clId="{6ADDF83B-BC1C-427E-B398-69A66A75FB58}" dt="2024-08-28T21:09:34.284" v="5070" actId="20577"/>
          <ac:spMkLst>
            <pc:docMk/>
            <pc:sldMk cId="3057176406" sldId="299"/>
            <ac:spMk id="13" creationId="{E5FE5E26-6093-453A-A9A8-A871617845BE}"/>
          </ac:spMkLst>
        </pc:spChg>
        <pc:spChg chg="del">
          <ac:chgData name="Kohli, Abhi SIEP-IUV/I/C" userId="8df466d3-0db6-41cc-b122-11a6f246ec8b" providerId="ADAL" clId="{6ADDF83B-BC1C-427E-B398-69A66A75FB58}" dt="2024-08-22T20:46:02.926" v="795" actId="478"/>
          <ac:spMkLst>
            <pc:docMk/>
            <pc:sldMk cId="3057176406" sldId="299"/>
            <ac:spMk id="14" creationId="{4F4ACE65-A7A0-C79F-9926-1079ABE2F246}"/>
          </ac:spMkLst>
        </pc:spChg>
        <pc:spChg chg="del mod">
          <ac:chgData name="Kohli, Abhi SIEP-IUV/I/C" userId="8df466d3-0db6-41cc-b122-11a6f246ec8b" providerId="ADAL" clId="{6ADDF83B-BC1C-427E-B398-69A66A75FB58}" dt="2024-08-28T18:48:33.431" v="4432" actId="21"/>
          <ac:spMkLst>
            <pc:docMk/>
            <pc:sldMk cId="3057176406" sldId="299"/>
            <ac:spMk id="17" creationId="{E9D60DA5-2981-4A37-86FA-660B87C69F69}"/>
          </ac:spMkLst>
        </pc:spChg>
        <pc:spChg chg="del mod">
          <ac:chgData name="Kohli, Abhi SIEP-IUV/I/C" userId="8df466d3-0db6-41cc-b122-11a6f246ec8b" providerId="ADAL" clId="{6ADDF83B-BC1C-427E-B398-69A66A75FB58}" dt="2024-08-28T18:48:33.431" v="4432" actId="21"/>
          <ac:spMkLst>
            <pc:docMk/>
            <pc:sldMk cId="3057176406" sldId="299"/>
            <ac:spMk id="18" creationId="{C9BF50E9-FA23-4CC7-BD6E-526E57D57C13}"/>
          </ac:spMkLst>
        </pc:spChg>
        <pc:spChg chg="del mod">
          <ac:chgData name="Kohli, Abhi SIEP-IUV/I/C" userId="8df466d3-0db6-41cc-b122-11a6f246ec8b" providerId="ADAL" clId="{6ADDF83B-BC1C-427E-B398-69A66A75FB58}" dt="2024-08-28T18:48:33.431" v="4432" actId="21"/>
          <ac:spMkLst>
            <pc:docMk/>
            <pc:sldMk cId="3057176406" sldId="299"/>
            <ac:spMk id="20" creationId="{C1242788-7C77-4457-B5BB-2981C7A9C65D}"/>
          </ac:spMkLst>
        </pc:spChg>
        <pc:spChg chg="del">
          <ac:chgData name="Kohli, Abhi SIEP-IUV/I/C" userId="8df466d3-0db6-41cc-b122-11a6f246ec8b" providerId="ADAL" clId="{6ADDF83B-BC1C-427E-B398-69A66A75FB58}" dt="2024-08-22T20:46:01.482" v="794" actId="478"/>
          <ac:spMkLst>
            <pc:docMk/>
            <pc:sldMk cId="3057176406" sldId="299"/>
            <ac:spMk id="21" creationId="{B03B17E7-DAE8-796E-79A0-B3B78A780897}"/>
          </ac:spMkLst>
        </pc:spChg>
        <pc:spChg chg="del mod">
          <ac:chgData name="Kohli, Abhi SIEP-IUV/I/C" userId="8df466d3-0db6-41cc-b122-11a6f246ec8b" providerId="ADAL" clId="{6ADDF83B-BC1C-427E-B398-69A66A75FB58}" dt="2024-08-28T18:48:33.431" v="4432" actId="21"/>
          <ac:spMkLst>
            <pc:docMk/>
            <pc:sldMk cId="3057176406" sldId="299"/>
            <ac:spMk id="22" creationId="{2A34874D-5768-45A6-8766-10EB89E86E9E}"/>
          </ac:spMkLst>
        </pc:spChg>
        <pc:spChg chg="del">
          <ac:chgData name="Kohli, Abhi SIEP-IUV/I/C" userId="8df466d3-0db6-41cc-b122-11a6f246ec8b" providerId="ADAL" clId="{6ADDF83B-BC1C-427E-B398-69A66A75FB58}" dt="2024-08-22T20:46:04.458" v="796" actId="478"/>
          <ac:spMkLst>
            <pc:docMk/>
            <pc:sldMk cId="3057176406" sldId="299"/>
            <ac:spMk id="23" creationId="{4B892C04-BF71-E566-D5E2-54F9F0744A15}"/>
          </ac:spMkLst>
        </pc:spChg>
        <pc:picChg chg="del">
          <ac:chgData name="Kohli, Abhi SIEP-IUV/I/C" userId="8df466d3-0db6-41cc-b122-11a6f246ec8b" providerId="ADAL" clId="{6ADDF83B-BC1C-427E-B398-69A66A75FB58}" dt="2024-08-28T21:10:10.043" v="5072" actId="478"/>
          <ac:picMkLst>
            <pc:docMk/>
            <pc:sldMk cId="3057176406" sldId="299"/>
            <ac:picMk id="7" creationId="{30E1ECD1-409B-46F7-B16C-A29623117C27}"/>
          </ac:picMkLst>
        </pc:picChg>
        <pc:picChg chg="del mod">
          <ac:chgData name="Kohli, Abhi SIEP-IUV/I/C" userId="8df466d3-0db6-41cc-b122-11a6f246ec8b" providerId="ADAL" clId="{6ADDF83B-BC1C-427E-B398-69A66A75FB58}" dt="2024-08-28T18:48:33.431" v="4432" actId="21"/>
          <ac:picMkLst>
            <pc:docMk/>
            <pc:sldMk cId="3057176406" sldId="299"/>
            <ac:picMk id="8" creationId="{E154C348-6242-43CC-9F95-6B1820BF726B}"/>
          </ac:picMkLst>
        </pc:picChg>
        <pc:picChg chg="add mod">
          <ac:chgData name="Kohli, Abhi SIEP-IUV/I/C" userId="8df466d3-0db6-41cc-b122-11a6f246ec8b" providerId="ADAL" clId="{6ADDF83B-BC1C-427E-B398-69A66A75FB58}" dt="2024-08-28T21:10:26.884" v="5080" actId="1076"/>
          <ac:picMkLst>
            <pc:docMk/>
            <pc:sldMk cId="3057176406" sldId="299"/>
            <ac:picMk id="9" creationId="{27C20F7A-A504-A0DC-C855-97000C01C7B7}"/>
          </ac:picMkLst>
        </pc:picChg>
        <pc:picChg chg="del mod">
          <ac:chgData name="Kohli, Abhi SIEP-IUV/I/C" userId="8df466d3-0db6-41cc-b122-11a6f246ec8b" providerId="ADAL" clId="{6ADDF83B-BC1C-427E-B398-69A66A75FB58}" dt="2024-08-28T18:48:33.431" v="4432" actId="21"/>
          <ac:picMkLst>
            <pc:docMk/>
            <pc:sldMk cId="3057176406" sldId="299"/>
            <ac:picMk id="9" creationId="{F6C1B988-B496-D326-B11F-6DF93280F14D}"/>
          </ac:picMkLst>
        </pc:picChg>
        <pc:picChg chg="add mod">
          <ac:chgData name="Kohli, Abhi SIEP-IUV/I/C" userId="8df466d3-0db6-41cc-b122-11a6f246ec8b" providerId="ADAL" clId="{6ADDF83B-BC1C-427E-B398-69A66A75FB58}" dt="2024-08-29T02:41:20.895" v="5134" actId="1076"/>
          <ac:picMkLst>
            <pc:docMk/>
            <pc:sldMk cId="3057176406" sldId="299"/>
            <ac:picMk id="14" creationId="{30E1ECD1-409B-46F7-B16C-A29623117C27}"/>
          </ac:picMkLst>
        </pc:picChg>
      </pc:sldChg>
      <pc:sldChg chg="addSp delSp modSp new mod">
        <pc:chgData name="Kohli, Abhi SIEP-IUV/I/C" userId="8df466d3-0db6-41cc-b122-11a6f246ec8b" providerId="ADAL" clId="{6ADDF83B-BC1C-427E-B398-69A66A75FB58}" dt="2024-08-28T18:49:55.855" v="4450" actId="1076"/>
        <pc:sldMkLst>
          <pc:docMk/>
          <pc:sldMk cId="3197976348" sldId="300"/>
        </pc:sldMkLst>
        <pc:spChg chg="del">
          <ac:chgData name="Kohli, Abhi SIEP-IUV/I/C" userId="8df466d3-0db6-41cc-b122-11a6f246ec8b" providerId="ADAL" clId="{6ADDF83B-BC1C-427E-B398-69A66A75FB58}" dt="2024-08-25T16:48:09.416" v="863" actId="478"/>
          <ac:spMkLst>
            <pc:docMk/>
            <pc:sldMk cId="3197976348" sldId="300"/>
            <ac:spMk id="2" creationId="{124851E6-187B-6A7A-235F-3FF19CAFA4E7}"/>
          </ac:spMkLst>
        </pc:spChg>
        <pc:spChg chg="add del mod">
          <ac:chgData name="Kohli, Abhi SIEP-IUV/I/C" userId="8df466d3-0db6-41cc-b122-11a6f246ec8b" providerId="ADAL" clId="{6ADDF83B-BC1C-427E-B398-69A66A75FB58}" dt="2024-08-26T22:36:49.807" v="3148" actId="478"/>
          <ac:spMkLst>
            <pc:docMk/>
            <pc:sldMk cId="3197976348" sldId="300"/>
            <ac:spMk id="2" creationId="{686B2867-378D-F3A6-50D4-92A9BE729143}"/>
          </ac:spMkLst>
        </pc:spChg>
        <pc:spChg chg="add mod">
          <ac:chgData name="Kohli, Abhi SIEP-IUV/I/C" userId="8df466d3-0db6-41cc-b122-11a6f246ec8b" providerId="ADAL" clId="{6ADDF83B-BC1C-427E-B398-69A66A75FB58}" dt="2024-08-28T18:48:54.088" v="4437" actId="14100"/>
          <ac:spMkLst>
            <pc:docMk/>
            <pc:sldMk cId="3197976348" sldId="300"/>
            <ac:spMk id="2" creationId="{E9D60DA5-2981-4A37-86FA-660B87C69F69}"/>
          </ac:spMkLst>
        </pc:spChg>
        <pc:spChg chg="del mod">
          <ac:chgData name="Kohli, Abhi SIEP-IUV/I/C" userId="8df466d3-0db6-41cc-b122-11a6f246ec8b" providerId="ADAL" clId="{6ADDF83B-BC1C-427E-B398-69A66A75FB58}" dt="2024-08-28T18:48:47.434" v="4435" actId="478"/>
          <ac:spMkLst>
            <pc:docMk/>
            <pc:sldMk cId="3197976348" sldId="300"/>
            <ac:spMk id="3" creationId="{A2536050-16CA-BEB9-90DD-3085724EC1DE}"/>
          </ac:spMkLst>
        </pc:spChg>
        <pc:spChg chg="add mod">
          <ac:chgData name="Kohli, Abhi SIEP-IUV/I/C" userId="8df466d3-0db6-41cc-b122-11a6f246ec8b" providerId="ADAL" clId="{6ADDF83B-BC1C-427E-B398-69A66A75FB58}" dt="2024-08-25T16:48:07.015" v="862"/>
          <ac:spMkLst>
            <pc:docMk/>
            <pc:sldMk cId="3197976348" sldId="300"/>
            <ac:spMk id="7" creationId="{C1A07A21-B520-101B-B64B-DB5C0B84F79A}"/>
          </ac:spMkLst>
        </pc:spChg>
        <pc:spChg chg="add mod">
          <ac:chgData name="Kohli, Abhi SIEP-IUV/I/C" userId="8df466d3-0db6-41cc-b122-11a6f246ec8b" providerId="ADAL" clId="{6ADDF83B-BC1C-427E-B398-69A66A75FB58}" dt="2024-08-28T18:49:55.855" v="4450" actId="1076"/>
          <ac:spMkLst>
            <pc:docMk/>
            <pc:sldMk cId="3197976348" sldId="300"/>
            <ac:spMk id="9" creationId="{A6C190F7-97F2-00FC-26B1-E946C9565C18}"/>
          </ac:spMkLst>
        </pc:spChg>
        <pc:spChg chg="add mod">
          <ac:chgData name="Kohli, Abhi SIEP-IUV/I/C" userId="8df466d3-0db6-41cc-b122-11a6f246ec8b" providerId="ADAL" clId="{6ADDF83B-BC1C-427E-B398-69A66A75FB58}" dt="2024-08-26T22:37:42.159" v="3159"/>
          <ac:spMkLst>
            <pc:docMk/>
            <pc:sldMk cId="3197976348" sldId="300"/>
            <ac:spMk id="16" creationId="{5AA9139C-B39D-4C0B-2EA8-FC0E29773215}"/>
          </ac:spMkLst>
        </pc:spChg>
        <pc:spChg chg="add mod">
          <ac:chgData name="Kohli, Abhi SIEP-IUV/I/C" userId="8df466d3-0db6-41cc-b122-11a6f246ec8b" providerId="ADAL" clId="{6ADDF83B-BC1C-427E-B398-69A66A75FB58}" dt="2024-08-28T18:49:48.749" v="4448" actId="1076"/>
          <ac:spMkLst>
            <pc:docMk/>
            <pc:sldMk cId="3197976348" sldId="300"/>
            <ac:spMk id="17" creationId="{8DA23AC1-2D08-411A-903A-49942FCEAAF0}"/>
          </ac:spMkLst>
        </pc:spChg>
        <pc:spChg chg="add mod">
          <ac:chgData name="Kohli, Abhi SIEP-IUV/I/C" userId="8df466d3-0db6-41cc-b122-11a6f246ec8b" providerId="ADAL" clId="{6ADDF83B-BC1C-427E-B398-69A66A75FB58}" dt="2024-08-28T18:49:07.464" v="4442" actId="1076"/>
          <ac:spMkLst>
            <pc:docMk/>
            <pc:sldMk cId="3197976348" sldId="300"/>
            <ac:spMk id="18" creationId="{C9BF50E9-FA23-4CC7-BD6E-526E57D57C13}"/>
          </ac:spMkLst>
        </pc:spChg>
        <pc:spChg chg="add mod">
          <ac:chgData name="Kohli, Abhi SIEP-IUV/I/C" userId="8df466d3-0db6-41cc-b122-11a6f246ec8b" providerId="ADAL" clId="{6ADDF83B-BC1C-427E-B398-69A66A75FB58}" dt="2024-08-28T18:49:25.147" v="4444" actId="14100"/>
          <ac:spMkLst>
            <pc:docMk/>
            <pc:sldMk cId="3197976348" sldId="300"/>
            <ac:spMk id="20" creationId="{C1242788-7C77-4457-B5BB-2981C7A9C65D}"/>
          </ac:spMkLst>
        </pc:spChg>
        <pc:spChg chg="add mod">
          <ac:chgData name="Kohli, Abhi SIEP-IUV/I/C" userId="8df466d3-0db6-41cc-b122-11a6f246ec8b" providerId="ADAL" clId="{6ADDF83B-BC1C-427E-B398-69A66A75FB58}" dt="2024-08-28T18:48:45.174" v="4434" actId="1076"/>
          <ac:spMkLst>
            <pc:docMk/>
            <pc:sldMk cId="3197976348" sldId="300"/>
            <ac:spMk id="22" creationId="{2A34874D-5768-45A6-8766-10EB89E86E9E}"/>
          </ac:spMkLst>
        </pc:spChg>
        <pc:graphicFrameChg chg="add mod ord modVis replST">
          <ac:chgData name="Kohli, Abhi SIEP-IUV/I/C" userId="8df466d3-0db6-41cc-b122-11a6f246ec8b" providerId="ADAL" clId="{6ADDF83B-BC1C-427E-B398-69A66A75FB58}" dt="2024-08-25T16:48:09.998" v="880"/>
          <ac:graphicFrameMkLst>
            <pc:docMk/>
            <pc:sldMk cId="3197976348" sldId="300"/>
            <ac:graphicFrameMk id="8" creationId="{1ED664BE-1465-7797-8A71-2DD5CC5D1CBA}"/>
          </ac:graphicFrameMkLst>
        </pc:graphicFrameChg>
        <pc:picChg chg="add mod">
          <ac:chgData name="Kohli, Abhi SIEP-IUV/I/C" userId="8df466d3-0db6-41cc-b122-11a6f246ec8b" providerId="ADAL" clId="{6ADDF83B-BC1C-427E-B398-69A66A75FB58}" dt="2024-08-26T22:37:29.819" v="3157" actId="1076"/>
          <ac:picMkLst>
            <pc:docMk/>
            <pc:sldMk cId="3197976348" sldId="300"/>
            <ac:picMk id="10" creationId="{81DC8DA8-D2EC-6DD5-FF00-8E4995B3F8D9}"/>
          </ac:picMkLst>
        </pc:picChg>
        <pc:picChg chg="add mod">
          <ac:chgData name="Kohli, Abhi SIEP-IUV/I/C" userId="8df466d3-0db6-41cc-b122-11a6f246ec8b" providerId="ADAL" clId="{6ADDF83B-BC1C-427E-B398-69A66A75FB58}" dt="2024-08-28T18:48:45.174" v="4434" actId="1076"/>
          <ac:picMkLst>
            <pc:docMk/>
            <pc:sldMk cId="3197976348" sldId="300"/>
            <ac:picMk id="11" creationId="{E154C348-6242-43CC-9F95-6B1820BF726B}"/>
          </ac:picMkLst>
        </pc:picChg>
        <pc:picChg chg="add mod">
          <ac:chgData name="Kohli, Abhi SIEP-IUV/I/C" userId="8df466d3-0db6-41cc-b122-11a6f246ec8b" providerId="ADAL" clId="{6ADDF83B-BC1C-427E-B398-69A66A75FB58}" dt="2024-08-28T18:49:05.151" v="4441" actId="1076"/>
          <ac:picMkLst>
            <pc:docMk/>
            <pc:sldMk cId="3197976348" sldId="300"/>
            <ac:picMk id="12" creationId="{F6C1B988-B496-D326-B11F-6DF93280F14D}"/>
          </ac:picMkLst>
        </pc:picChg>
      </pc:sldChg>
      <pc:sldChg chg="addSp delSp modSp new mod ord modClrScheme chgLayout">
        <pc:chgData name="Kohli, Abhi SIEP-IUV/I/C" userId="8df466d3-0db6-41cc-b122-11a6f246ec8b" providerId="ADAL" clId="{6ADDF83B-BC1C-427E-B398-69A66A75FB58}" dt="2024-08-27T21:12:21.217" v="4385" actId="14100"/>
        <pc:sldMkLst>
          <pc:docMk/>
          <pc:sldMk cId="2714652116" sldId="301"/>
        </pc:sldMkLst>
        <pc:spChg chg="del mod ord">
          <ac:chgData name="Kohli, Abhi SIEP-IUV/I/C" userId="8df466d3-0db6-41cc-b122-11a6f246ec8b" providerId="ADAL" clId="{6ADDF83B-BC1C-427E-B398-69A66A75FB58}" dt="2024-08-25T16:49:53.304" v="887" actId="700"/>
          <ac:spMkLst>
            <pc:docMk/>
            <pc:sldMk cId="2714652116" sldId="301"/>
            <ac:spMk id="2" creationId="{23D85B9F-8547-1833-5EF3-5273BF05D208}"/>
          </ac:spMkLst>
        </pc:spChg>
        <pc:spChg chg="del mod ord">
          <ac:chgData name="Kohli, Abhi SIEP-IUV/I/C" userId="8df466d3-0db6-41cc-b122-11a6f246ec8b" providerId="ADAL" clId="{6ADDF83B-BC1C-427E-B398-69A66A75FB58}" dt="2024-08-25T16:49:53.304" v="887" actId="700"/>
          <ac:spMkLst>
            <pc:docMk/>
            <pc:sldMk cId="2714652116" sldId="301"/>
            <ac:spMk id="3" creationId="{E2A81560-20C4-7829-15C8-4EDB6FB89681}"/>
          </ac:spMkLst>
        </pc:spChg>
        <pc:spChg chg="mod ord">
          <ac:chgData name="Kohli, Abhi SIEP-IUV/I/C" userId="8df466d3-0db6-41cc-b122-11a6f246ec8b" providerId="ADAL" clId="{6ADDF83B-BC1C-427E-B398-69A66A75FB58}" dt="2024-08-25T16:50:03.280" v="905" actId="700"/>
          <ac:spMkLst>
            <pc:docMk/>
            <pc:sldMk cId="2714652116" sldId="301"/>
            <ac:spMk id="4" creationId="{DA04A350-872D-6387-07DF-9410870263E6}"/>
          </ac:spMkLst>
        </pc:spChg>
        <pc:spChg chg="mod ord">
          <ac:chgData name="Kohli, Abhi SIEP-IUV/I/C" userId="8df466d3-0db6-41cc-b122-11a6f246ec8b" providerId="ADAL" clId="{6ADDF83B-BC1C-427E-B398-69A66A75FB58}" dt="2024-08-25T16:50:03.280" v="905" actId="700"/>
          <ac:spMkLst>
            <pc:docMk/>
            <pc:sldMk cId="2714652116" sldId="301"/>
            <ac:spMk id="5" creationId="{74DBED25-9CCC-6581-0F00-D57910067E60}"/>
          </ac:spMkLst>
        </pc:spChg>
        <pc:spChg chg="mod ord">
          <ac:chgData name="Kohli, Abhi SIEP-IUV/I/C" userId="8df466d3-0db6-41cc-b122-11a6f246ec8b" providerId="ADAL" clId="{6ADDF83B-BC1C-427E-B398-69A66A75FB58}" dt="2024-08-25T16:50:03.280" v="905" actId="700"/>
          <ac:spMkLst>
            <pc:docMk/>
            <pc:sldMk cId="2714652116" sldId="301"/>
            <ac:spMk id="6" creationId="{1674895B-1B6E-E28C-90BB-9475A4BB0338}"/>
          </ac:spMkLst>
        </pc:spChg>
        <pc:spChg chg="add del mod ord">
          <ac:chgData name="Kohli, Abhi SIEP-IUV/I/C" userId="8df466d3-0db6-41cc-b122-11a6f246ec8b" providerId="ADAL" clId="{6ADDF83B-BC1C-427E-B398-69A66A75FB58}" dt="2024-08-25T16:50:03.280" v="905" actId="700"/>
          <ac:spMkLst>
            <pc:docMk/>
            <pc:sldMk cId="2714652116" sldId="301"/>
            <ac:spMk id="7" creationId="{756AF97A-3BF4-C766-085D-759B2F51D2A5}"/>
          </ac:spMkLst>
        </pc:spChg>
        <pc:spChg chg="add del mod ord">
          <ac:chgData name="Kohli, Abhi SIEP-IUV/I/C" userId="8df466d3-0db6-41cc-b122-11a6f246ec8b" providerId="ADAL" clId="{6ADDF83B-BC1C-427E-B398-69A66A75FB58}" dt="2024-08-25T16:50:03.280" v="905" actId="700"/>
          <ac:spMkLst>
            <pc:docMk/>
            <pc:sldMk cId="2714652116" sldId="301"/>
            <ac:spMk id="8" creationId="{5CCB400E-1C64-3158-229C-31FF5FCA1B07}"/>
          </ac:spMkLst>
        </pc:spChg>
        <pc:spChg chg="add mod ord">
          <ac:chgData name="Kohli, Abhi SIEP-IUV/I/C" userId="8df466d3-0db6-41cc-b122-11a6f246ec8b" providerId="ADAL" clId="{6ADDF83B-BC1C-427E-B398-69A66A75FB58}" dt="2024-08-25T17:25:16.784" v="1351" actId="948"/>
          <ac:spMkLst>
            <pc:docMk/>
            <pc:sldMk cId="2714652116" sldId="301"/>
            <ac:spMk id="10" creationId="{2818F63E-6231-C9F7-F8FD-182929A08B7F}"/>
          </ac:spMkLst>
        </pc:spChg>
        <pc:spChg chg="add del mod ord">
          <ac:chgData name="Kohli, Abhi SIEP-IUV/I/C" userId="8df466d3-0db6-41cc-b122-11a6f246ec8b" providerId="ADAL" clId="{6ADDF83B-BC1C-427E-B398-69A66A75FB58}" dt="2024-08-26T22:33:54.195" v="3131" actId="478"/>
          <ac:spMkLst>
            <pc:docMk/>
            <pc:sldMk cId="2714652116" sldId="301"/>
            <ac:spMk id="11" creationId="{493B690B-A528-C598-E821-C4C3478C75F0}"/>
          </ac:spMkLst>
        </pc:spChg>
        <pc:spChg chg="add del mod ord">
          <ac:chgData name="Kohli, Abhi SIEP-IUV/I/C" userId="8df466d3-0db6-41cc-b122-11a6f246ec8b" providerId="ADAL" clId="{6ADDF83B-BC1C-427E-B398-69A66A75FB58}" dt="2024-08-25T16:53:18.752" v="1093" actId="478"/>
          <ac:spMkLst>
            <pc:docMk/>
            <pc:sldMk cId="2714652116" sldId="301"/>
            <ac:spMk id="12" creationId="{57B390A1-6387-00AD-C6EA-A2EFB6DB3862}"/>
          </ac:spMkLst>
        </pc:spChg>
        <pc:spChg chg="add mod ord">
          <ac:chgData name="Kohli, Abhi SIEP-IUV/I/C" userId="8df466d3-0db6-41cc-b122-11a6f246ec8b" providerId="ADAL" clId="{6ADDF83B-BC1C-427E-B398-69A66A75FB58}" dt="2024-08-25T16:50:03.280" v="905" actId="700"/>
          <ac:spMkLst>
            <pc:docMk/>
            <pc:sldMk cId="2714652116" sldId="301"/>
            <ac:spMk id="13" creationId="{4AE71601-429A-17EC-6D07-EB67557FE839}"/>
          </ac:spMkLst>
        </pc:spChg>
        <pc:spChg chg="add del mod ord">
          <ac:chgData name="Kohli, Abhi SIEP-IUV/I/C" userId="8df466d3-0db6-41cc-b122-11a6f246ec8b" providerId="ADAL" clId="{6ADDF83B-BC1C-427E-B398-69A66A75FB58}" dt="2024-08-25T16:53:17.433" v="1092" actId="478"/>
          <ac:spMkLst>
            <pc:docMk/>
            <pc:sldMk cId="2714652116" sldId="301"/>
            <ac:spMk id="14" creationId="{BB05BC25-2446-A403-B080-9DB1C8DF86F3}"/>
          </ac:spMkLst>
        </pc:spChg>
        <pc:spChg chg="add del mod ord">
          <ac:chgData name="Kohli, Abhi SIEP-IUV/I/C" userId="8df466d3-0db6-41cc-b122-11a6f246ec8b" providerId="ADAL" clId="{6ADDF83B-BC1C-427E-B398-69A66A75FB58}" dt="2024-08-25T16:53:16.554" v="1091" actId="478"/>
          <ac:spMkLst>
            <pc:docMk/>
            <pc:sldMk cId="2714652116" sldId="301"/>
            <ac:spMk id="15" creationId="{7A118C6D-82EA-6F34-509A-99E18AEFF2EC}"/>
          </ac:spMkLst>
        </pc:spChg>
        <pc:spChg chg="add del mod ord">
          <ac:chgData name="Kohli, Abhi SIEP-IUV/I/C" userId="8df466d3-0db6-41cc-b122-11a6f246ec8b" providerId="ADAL" clId="{6ADDF83B-BC1C-427E-B398-69A66A75FB58}" dt="2024-08-25T16:53:15.738" v="1090" actId="478"/>
          <ac:spMkLst>
            <pc:docMk/>
            <pc:sldMk cId="2714652116" sldId="301"/>
            <ac:spMk id="16" creationId="{AA780139-B1E3-B989-9FF3-09014D0F54F1}"/>
          </ac:spMkLst>
        </pc:spChg>
        <pc:spChg chg="add del mod modVis">
          <ac:chgData name="Kohli, Abhi SIEP-IUV/I/C" userId="8df466d3-0db6-41cc-b122-11a6f246ec8b" providerId="ADAL" clId="{6ADDF83B-BC1C-427E-B398-69A66A75FB58}" dt="2024-08-25T16:50:09.531" v="957"/>
          <ac:spMkLst>
            <pc:docMk/>
            <pc:sldMk cId="2714652116" sldId="301"/>
            <ac:spMk id="17" creationId="{7A6147FC-AB13-B794-EC72-9EF4283841D7}"/>
          </ac:spMkLst>
        </pc:spChg>
        <pc:spChg chg="add del mod modVis">
          <ac:chgData name="Kohli, Abhi SIEP-IUV/I/C" userId="8df466d3-0db6-41cc-b122-11a6f246ec8b" providerId="ADAL" clId="{6ADDF83B-BC1C-427E-B398-69A66A75FB58}" dt="2024-08-25T16:50:10.049" v="985"/>
          <ac:spMkLst>
            <pc:docMk/>
            <pc:sldMk cId="2714652116" sldId="301"/>
            <ac:spMk id="18" creationId="{1E10365F-B6A0-9478-C800-03CF166F6302}"/>
          </ac:spMkLst>
        </pc:spChg>
        <pc:spChg chg="add del mod modVis">
          <ac:chgData name="Kohli, Abhi SIEP-IUV/I/C" userId="8df466d3-0db6-41cc-b122-11a6f246ec8b" providerId="ADAL" clId="{6ADDF83B-BC1C-427E-B398-69A66A75FB58}" dt="2024-08-25T16:50:10.819" v="1015"/>
          <ac:spMkLst>
            <pc:docMk/>
            <pc:sldMk cId="2714652116" sldId="301"/>
            <ac:spMk id="19" creationId="{A9B800AF-DD8F-D714-7CE8-27F554023180}"/>
          </ac:spMkLst>
        </pc:spChg>
        <pc:spChg chg="add del mod modVis">
          <ac:chgData name="Kohli, Abhi SIEP-IUV/I/C" userId="8df466d3-0db6-41cc-b122-11a6f246ec8b" providerId="ADAL" clId="{6ADDF83B-BC1C-427E-B398-69A66A75FB58}" dt="2024-08-25T16:50:13.097" v="1043"/>
          <ac:spMkLst>
            <pc:docMk/>
            <pc:sldMk cId="2714652116" sldId="301"/>
            <ac:spMk id="20" creationId="{B7192FD5-E1FD-A387-36D3-E83C30CADD48}"/>
          </ac:spMkLst>
        </pc:spChg>
        <pc:spChg chg="add del mod modVis">
          <ac:chgData name="Kohli, Abhi SIEP-IUV/I/C" userId="8df466d3-0db6-41cc-b122-11a6f246ec8b" providerId="ADAL" clId="{6ADDF83B-BC1C-427E-B398-69A66A75FB58}" dt="2024-08-25T16:50:16.236" v="1077"/>
          <ac:spMkLst>
            <pc:docMk/>
            <pc:sldMk cId="2714652116" sldId="301"/>
            <ac:spMk id="21" creationId="{2280F958-49BF-FE7B-F813-0A29CE81AF9C}"/>
          </ac:spMkLst>
        </pc:spChg>
        <pc:spChg chg="add del mod modVis">
          <ac:chgData name="Kohli, Abhi SIEP-IUV/I/C" userId="8df466d3-0db6-41cc-b122-11a6f246ec8b" providerId="ADAL" clId="{6ADDF83B-BC1C-427E-B398-69A66A75FB58}" dt="2024-08-25T17:25:08.163" v="1224"/>
          <ac:spMkLst>
            <pc:docMk/>
            <pc:sldMk cId="2714652116" sldId="301"/>
            <ac:spMk id="30" creationId="{BC0F6E19-B589-C617-F954-ACBAAC264ADC}"/>
          </ac:spMkLst>
        </pc:spChg>
        <pc:spChg chg="add del mod modVis">
          <ac:chgData name="Kohli, Abhi SIEP-IUV/I/C" userId="8df466d3-0db6-41cc-b122-11a6f246ec8b" providerId="ADAL" clId="{6ADDF83B-BC1C-427E-B398-69A66A75FB58}" dt="2024-08-25T17:25:09.700" v="1253"/>
          <ac:spMkLst>
            <pc:docMk/>
            <pc:sldMk cId="2714652116" sldId="301"/>
            <ac:spMk id="31" creationId="{087D801E-5576-70F7-E744-846FF53A1354}"/>
          </ac:spMkLst>
        </pc:spChg>
        <pc:spChg chg="add del mod modVis">
          <ac:chgData name="Kohli, Abhi SIEP-IUV/I/C" userId="8df466d3-0db6-41cc-b122-11a6f246ec8b" providerId="ADAL" clId="{6ADDF83B-BC1C-427E-B398-69A66A75FB58}" dt="2024-08-25T17:25:11.459" v="1286"/>
          <ac:spMkLst>
            <pc:docMk/>
            <pc:sldMk cId="2714652116" sldId="301"/>
            <ac:spMk id="32" creationId="{AB0806D0-DFD7-36DB-108C-A7A6C3228347}"/>
          </ac:spMkLst>
        </pc:spChg>
        <pc:spChg chg="add del mod modVis">
          <ac:chgData name="Kohli, Abhi SIEP-IUV/I/C" userId="8df466d3-0db6-41cc-b122-11a6f246ec8b" providerId="ADAL" clId="{6ADDF83B-BC1C-427E-B398-69A66A75FB58}" dt="2024-08-25T17:25:12.668" v="1319"/>
          <ac:spMkLst>
            <pc:docMk/>
            <pc:sldMk cId="2714652116" sldId="301"/>
            <ac:spMk id="33" creationId="{71034C92-7461-2D32-F71E-62FA44C4A13B}"/>
          </ac:spMkLst>
        </pc:spChg>
        <pc:spChg chg="add del mod modVis">
          <ac:chgData name="Kohli, Abhi SIEP-IUV/I/C" userId="8df466d3-0db6-41cc-b122-11a6f246ec8b" providerId="ADAL" clId="{6ADDF83B-BC1C-427E-B398-69A66A75FB58}" dt="2024-08-25T17:25:15.243" v="1347"/>
          <ac:spMkLst>
            <pc:docMk/>
            <pc:sldMk cId="2714652116" sldId="301"/>
            <ac:spMk id="34" creationId="{AAED5831-E528-641E-C87A-348ED27C8F05}"/>
          </ac:spMkLst>
        </pc:spChg>
        <pc:spChg chg="add del mod modVis">
          <ac:chgData name="Kohli, Abhi SIEP-IUV/I/C" userId="8df466d3-0db6-41cc-b122-11a6f246ec8b" providerId="ADAL" clId="{6ADDF83B-BC1C-427E-B398-69A66A75FB58}" dt="2024-08-25T17:25:16.813" v="1375"/>
          <ac:spMkLst>
            <pc:docMk/>
            <pc:sldMk cId="2714652116" sldId="301"/>
            <ac:spMk id="35" creationId="{FDADF979-E7A9-EF82-F73E-34B140D8317D}"/>
          </ac:spMkLst>
        </pc:spChg>
        <pc:grpChg chg="add del mod">
          <ac:chgData name="Kohli, Abhi SIEP-IUV/I/C" userId="8df466d3-0db6-41cc-b122-11a6f246ec8b" providerId="ADAL" clId="{6ADDF83B-BC1C-427E-B398-69A66A75FB58}" dt="2024-08-26T22:34:13.194" v="3138" actId="21"/>
          <ac:grpSpMkLst>
            <pc:docMk/>
            <pc:sldMk cId="2714652116" sldId="301"/>
            <ac:grpSpMk id="7" creationId="{8425F3BB-4AC8-3D62-F0FD-293A57560287}"/>
          </ac:grpSpMkLst>
        </pc:grpChg>
        <pc:grpChg chg="add mod">
          <ac:chgData name="Kohli, Abhi SIEP-IUV/I/C" userId="8df466d3-0db6-41cc-b122-11a6f246ec8b" providerId="ADAL" clId="{6ADDF83B-BC1C-427E-B398-69A66A75FB58}" dt="2024-08-26T22:34:21.612" v="3140" actId="1076"/>
          <ac:grpSpMkLst>
            <pc:docMk/>
            <pc:sldMk cId="2714652116" sldId="301"/>
            <ac:grpSpMk id="12" creationId="{8425F3BB-4AC8-3D62-F0FD-293A57560287}"/>
          </ac:grpSpMkLst>
        </pc:grpChg>
        <pc:graphicFrameChg chg="add mod ord modVis replST">
          <ac:chgData name="Kohli, Abhi SIEP-IUV/I/C" userId="8df466d3-0db6-41cc-b122-11a6f246ec8b" providerId="ADAL" clId="{6ADDF83B-BC1C-427E-B398-69A66A75FB58}" dt="2024-08-25T17:25:16.813" v="1377"/>
          <ac:graphicFrameMkLst>
            <pc:docMk/>
            <pc:sldMk cId="2714652116" sldId="301"/>
            <ac:graphicFrameMk id="9" creationId="{459FB149-4D4F-7874-F57E-922399422759}"/>
          </ac:graphicFrameMkLst>
        </pc:graphicFrameChg>
        <pc:picChg chg="add mod modCrop">
          <ac:chgData name="Kohli, Abhi SIEP-IUV/I/C" userId="8df466d3-0db6-41cc-b122-11a6f246ec8b" providerId="ADAL" clId="{6ADDF83B-BC1C-427E-B398-69A66A75FB58}" dt="2024-08-26T22:33:48.682" v="3130" actId="164"/>
          <ac:picMkLst>
            <pc:docMk/>
            <pc:sldMk cId="2714652116" sldId="301"/>
            <ac:picMk id="2" creationId="{3C865F74-BCCD-FA83-B1DE-C3824C47C41E}"/>
          </ac:picMkLst>
        </pc:picChg>
        <pc:picChg chg="add mod modCrop">
          <ac:chgData name="Kohli, Abhi SIEP-IUV/I/C" userId="8df466d3-0db6-41cc-b122-11a6f246ec8b" providerId="ADAL" clId="{6ADDF83B-BC1C-427E-B398-69A66A75FB58}" dt="2024-08-26T22:33:48.682" v="3130" actId="164"/>
          <ac:picMkLst>
            <pc:docMk/>
            <pc:sldMk cId="2714652116" sldId="301"/>
            <ac:picMk id="3" creationId="{A5BE57CD-FC0B-4C25-C095-08422F690448}"/>
          </ac:picMkLst>
        </pc:picChg>
        <pc:picChg chg="add del mod">
          <ac:chgData name="Kohli, Abhi SIEP-IUV/I/C" userId="8df466d3-0db6-41cc-b122-11a6f246ec8b" providerId="ADAL" clId="{6ADDF83B-BC1C-427E-B398-69A66A75FB58}" dt="2024-08-26T22:34:01.732" v="3134" actId="21"/>
          <ac:picMkLst>
            <pc:docMk/>
            <pc:sldMk cId="2714652116" sldId="301"/>
            <ac:picMk id="8" creationId="{D06449D5-01FC-7D49-4E10-01B0E698DDC6}"/>
          </ac:picMkLst>
        </pc:picChg>
        <pc:picChg chg="mod">
          <ac:chgData name="Kohli, Abhi SIEP-IUV/I/C" userId="8df466d3-0db6-41cc-b122-11a6f246ec8b" providerId="ADAL" clId="{6ADDF83B-BC1C-427E-B398-69A66A75FB58}" dt="2024-08-26T22:34:16.303" v="3139"/>
          <ac:picMkLst>
            <pc:docMk/>
            <pc:sldMk cId="2714652116" sldId="301"/>
            <ac:picMk id="14" creationId="{3C865F74-BCCD-FA83-B1DE-C3824C47C41E}"/>
          </ac:picMkLst>
        </pc:picChg>
        <pc:picChg chg="mod">
          <ac:chgData name="Kohli, Abhi SIEP-IUV/I/C" userId="8df466d3-0db6-41cc-b122-11a6f246ec8b" providerId="ADAL" clId="{6ADDF83B-BC1C-427E-B398-69A66A75FB58}" dt="2024-08-26T22:34:16.303" v="3139"/>
          <ac:picMkLst>
            <pc:docMk/>
            <pc:sldMk cId="2714652116" sldId="301"/>
            <ac:picMk id="15" creationId="{A5BE57CD-FC0B-4C25-C095-08422F690448}"/>
          </ac:picMkLst>
        </pc:picChg>
        <pc:picChg chg="add del mod">
          <ac:chgData name="Kohli, Abhi SIEP-IUV/I/C" userId="8df466d3-0db6-41cc-b122-11a6f246ec8b" providerId="ADAL" clId="{6ADDF83B-BC1C-427E-B398-69A66A75FB58}" dt="2024-08-25T16:53:03.114" v="1085" actId="478"/>
          <ac:picMkLst>
            <pc:docMk/>
            <pc:sldMk cId="2714652116" sldId="301"/>
            <ac:picMk id="23" creationId="{4568F62A-7432-2415-F04F-0F11C9F65CD6}"/>
          </ac:picMkLst>
        </pc:picChg>
        <pc:picChg chg="add mod modCrop">
          <ac:chgData name="Kohli, Abhi SIEP-IUV/I/C" userId="8df466d3-0db6-41cc-b122-11a6f246ec8b" providerId="ADAL" clId="{6ADDF83B-BC1C-427E-B398-69A66A75FB58}" dt="2024-08-27T21:12:12.064" v="4382" actId="1440"/>
          <ac:picMkLst>
            <pc:docMk/>
            <pc:sldMk cId="2714652116" sldId="301"/>
            <ac:picMk id="25" creationId="{7D7BF723-C99F-8074-50C7-F89BB993C537}"/>
          </ac:picMkLst>
        </pc:picChg>
        <pc:picChg chg="add del mod">
          <ac:chgData name="Kohli, Abhi SIEP-IUV/I/C" userId="8df466d3-0db6-41cc-b122-11a6f246ec8b" providerId="ADAL" clId="{6ADDF83B-BC1C-427E-B398-69A66A75FB58}" dt="2024-08-25T16:53:50.001" v="1101" actId="478"/>
          <ac:picMkLst>
            <pc:docMk/>
            <pc:sldMk cId="2714652116" sldId="301"/>
            <ac:picMk id="27" creationId="{25F5A474-9C42-7CED-796E-3BF974CE1AA7}"/>
          </ac:picMkLst>
        </pc:picChg>
        <pc:picChg chg="add mod">
          <ac:chgData name="Kohli, Abhi SIEP-IUV/I/C" userId="8df466d3-0db6-41cc-b122-11a6f246ec8b" providerId="ADAL" clId="{6ADDF83B-BC1C-427E-B398-69A66A75FB58}" dt="2024-08-27T21:12:21.217" v="4385" actId="14100"/>
          <ac:picMkLst>
            <pc:docMk/>
            <pc:sldMk cId="2714652116" sldId="301"/>
            <ac:picMk id="29" creationId="{E1B8E2DD-EE62-02A8-DAEC-D750EB4F887F}"/>
          </ac:picMkLst>
        </pc:picChg>
      </pc:sldChg>
      <pc:sldChg chg="addSp delSp modSp new mod ord">
        <pc:chgData name="Kohli, Abhi SIEP-IUV/I/C" userId="8df466d3-0db6-41cc-b122-11a6f246ec8b" providerId="ADAL" clId="{6ADDF83B-BC1C-427E-B398-69A66A75FB58}" dt="2024-08-28T18:50:11.055" v="4451" actId="14100"/>
        <pc:sldMkLst>
          <pc:docMk/>
          <pc:sldMk cId="1532003294" sldId="302"/>
        </pc:sldMkLst>
        <pc:spChg chg="del mod ord">
          <ac:chgData name="Kohli, Abhi SIEP-IUV/I/C" userId="8df466d3-0db6-41cc-b122-11a6f246ec8b" providerId="ADAL" clId="{6ADDF83B-BC1C-427E-B398-69A66A75FB58}" dt="2024-08-25T17:25:28.758" v="1381"/>
          <ac:spMkLst>
            <pc:docMk/>
            <pc:sldMk cId="1532003294" sldId="302"/>
            <ac:spMk id="2" creationId="{417311DF-DBFD-05CD-0D26-EB0A337C253E}"/>
          </ac:spMkLst>
        </pc:spChg>
        <pc:spChg chg="del">
          <ac:chgData name="Kohli, Abhi SIEP-IUV/I/C" userId="8df466d3-0db6-41cc-b122-11a6f246ec8b" providerId="ADAL" clId="{6ADDF83B-BC1C-427E-B398-69A66A75FB58}" dt="2024-08-25T16:55:59.529" v="1120" actId="478"/>
          <ac:spMkLst>
            <pc:docMk/>
            <pc:sldMk cId="1532003294" sldId="302"/>
            <ac:spMk id="3" creationId="{02831148-40D2-6425-5F0F-3C811AD1A23D}"/>
          </ac:spMkLst>
        </pc:spChg>
        <pc:spChg chg="mod ord">
          <ac:chgData name="Kohli, Abhi SIEP-IUV/I/C" userId="8df466d3-0db6-41cc-b122-11a6f246ec8b" providerId="ADAL" clId="{6ADDF83B-BC1C-427E-B398-69A66A75FB58}" dt="2024-08-25T17:26:31.635" v="1524"/>
          <ac:spMkLst>
            <pc:docMk/>
            <pc:sldMk cId="1532003294" sldId="302"/>
            <ac:spMk id="4" creationId="{6E25B970-0BB3-93ED-E478-CF8D4C4762A5}"/>
          </ac:spMkLst>
        </pc:spChg>
        <pc:spChg chg="mod ord">
          <ac:chgData name="Kohli, Abhi SIEP-IUV/I/C" userId="8df466d3-0db6-41cc-b122-11a6f246ec8b" providerId="ADAL" clId="{6ADDF83B-BC1C-427E-B398-69A66A75FB58}" dt="2024-08-25T17:26:31.635" v="1526"/>
          <ac:spMkLst>
            <pc:docMk/>
            <pc:sldMk cId="1532003294" sldId="302"/>
            <ac:spMk id="5" creationId="{294D0536-9463-EAB2-8CA2-4EF719D5F946}"/>
          </ac:spMkLst>
        </pc:spChg>
        <pc:spChg chg="del">
          <ac:chgData name="Kohli, Abhi SIEP-IUV/I/C" userId="8df466d3-0db6-41cc-b122-11a6f246ec8b" providerId="ADAL" clId="{6ADDF83B-BC1C-427E-B398-69A66A75FB58}" dt="2024-08-25T16:55:59.529" v="1120" actId="478"/>
          <ac:spMkLst>
            <pc:docMk/>
            <pc:sldMk cId="1532003294" sldId="302"/>
            <ac:spMk id="6" creationId="{53721615-4BFF-798E-FAAA-FE4B8B4A4D26}"/>
          </ac:spMkLst>
        </pc:spChg>
        <pc:spChg chg="del">
          <ac:chgData name="Kohli, Abhi SIEP-IUV/I/C" userId="8df466d3-0db6-41cc-b122-11a6f246ec8b" providerId="ADAL" clId="{6ADDF83B-BC1C-427E-B398-69A66A75FB58}" dt="2024-08-25T16:55:57.850" v="1119" actId="478"/>
          <ac:spMkLst>
            <pc:docMk/>
            <pc:sldMk cId="1532003294" sldId="302"/>
            <ac:spMk id="7" creationId="{3BD19FB2-786F-3FE6-E1D7-94F90678B004}"/>
          </ac:spMkLst>
        </pc:spChg>
        <pc:spChg chg="del">
          <ac:chgData name="Kohli, Abhi SIEP-IUV/I/C" userId="8df466d3-0db6-41cc-b122-11a6f246ec8b" providerId="ADAL" clId="{6ADDF83B-BC1C-427E-B398-69A66A75FB58}" dt="2024-08-25T16:55:59.529" v="1120" actId="478"/>
          <ac:spMkLst>
            <pc:docMk/>
            <pc:sldMk cId="1532003294" sldId="302"/>
            <ac:spMk id="8" creationId="{57927ADE-2350-96A2-7AF9-75C9EC5E51C0}"/>
          </ac:spMkLst>
        </pc:spChg>
        <pc:spChg chg="del">
          <ac:chgData name="Kohli, Abhi SIEP-IUV/I/C" userId="8df466d3-0db6-41cc-b122-11a6f246ec8b" providerId="ADAL" clId="{6ADDF83B-BC1C-427E-B398-69A66A75FB58}" dt="2024-08-25T16:55:59.529" v="1120" actId="478"/>
          <ac:spMkLst>
            <pc:docMk/>
            <pc:sldMk cId="1532003294" sldId="302"/>
            <ac:spMk id="9" creationId="{F50B2C0B-FAA9-B28F-1F1F-5F27C6F2F999}"/>
          </ac:spMkLst>
        </pc:spChg>
        <pc:spChg chg="del">
          <ac:chgData name="Kohli, Abhi SIEP-IUV/I/C" userId="8df466d3-0db6-41cc-b122-11a6f246ec8b" providerId="ADAL" clId="{6ADDF83B-BC1C-427E-B398-69A66A75FB58}" dt="2024-08-25T16:55:59.529" v="1120" actId="478"/>
          <ac:spMkLst>
            <pc:docMk/>
            <pc:sldMk cId="1532003294" sldId="302"/>
            <ac:spMk id="10" creationId="{8CDBF1A7-5147-17BC-C1F6-9C1DAB2C0BAF}"/>
          </ac:spMkLst>
        </pc:spChg>
        <pc:spChg chg="mod ord">
          <ac:chgData name="Kohli, Abhi SIEP-IUV/I/C" userId="8df466d3-0db6-41cc-b122-11a6f246ec8b" providerId="ADAL" clId="{6ADDF83B-BC1C-427E-B398-69A66A75FB58}" dt="2024-08-25T17:26:31.635" v="1528"/>
          <ac:spMkLst>
            <pc:docMk/>
            <pc:sldMk cId="1532003294" sldId="302"/>
            <ac:spMk id="11" creationId="{97A40D80-E2C2-1ACB-272A-CE8E0C686DCF}"/>
          </ac:spMkLst>
        </pc:spChg>
        <pc:spChg chg="add mod ord">
          <ac:chgData name="Kohli, Abhi SIEP-IUV/I/C" userId="8df466d3-0db6-41cc-b122-11a6f246ec8b" providerId="ADAL" clId="{6ADDF83B-BC1C-427E-B398-69A66A75FB58}" dt="2024-08-25T17:26:31.635" v="1532"/>
          <ac:spMkLst>
            <pc:docMk/>
            <pc:sldMk cId="1532003294" sldId="302"/>
            <ac:spMk id="19" creationId="{1245E70D-4C99-1515-8D5F-325CFC0E9205}"/>
          </ac:spMkLst>
        </pc:spChg>
        <pc:spChg chg="add del mod modVis">
          <ac:chgData name="Kohli, Abhi SIEP-IUV/I/C" userId="8df466d3-0db6-41cc-b122-11a6f246ec8b" providerId="ADAL" clId="{6ADDF83B-BC1C-427E-B398-69A66A75FB58}" dt="2024-08-25T17:25:29.292" v="1406"/>
          <ac:spMkLst>
            <pc:docMk/>
            <pc:sldMk cId="1532003294" sldId="302"/>
            <ac:spMk id="20" creationId="{474EB677-91E2-E2FF-712A-6FC607F91C35}"/>
          </ac:spMkLst>
        </pc:spChg>
        <pc:spChg chg="add del mod modVis">
          <ac:chgData name="Kohli, Abhi SIEP-IUV/I/C" userId="8df466d3-0db6-41cc-b122-11a6f246ec8b" providerId="ADAL" clId="{6ADDF83B-BC1C-427E-B398-69A66A75FB58}" dt="2024-08-25T17:25:31.159" v="1434"/>
          <ac:spMkLst>
            <pc:docMk/>
            <pc:sldMk cId="1532003294" sldId="302"/>
            <ac:spMk id="21" creationId="{9E6A523A-7D99-33B7-F83A-C0D409D4AC4D}"/>
          </ac:spMkLst>
        </pc:spChg>
        <pc:spChg chg="add del mod modVis">
          <ac:chgData name="Kohli, Abhi SIEP-IUV/I/C" userId="8df466d3-0db6-41cc-b122-11a6f246ec8b" providerId="ADAL" clId="{6ADDF83B-BC1C-427E-B398-69A66A75FB58}" dt="2024-08-25T17:25:36.030" v="1472"/>
          <ac:spMkLst>
            <pc:docMk/>
            <pc:sldMk cId="1532003294" sldId="302"/>
            <ac:spMk id="22" creationId="{FB390E97-A35E-9AF3-E286-5987049B406D}"/>
          </ac:spMkLst>
        </pc:spChg>
        <pc:grpChg chg="add mod">
          <ac:chgData name="Kohli, Abhi SIEP-IUV/I/C" userId="8df466d3-0db6-41cc-b122-11a6f246ec8b" providerId="ADAL" clId="{6ADDF83B-BC1C-427E-B398-69A66A75FB58}" dt="2024-08-28T18:50:11.055" v="4451" actId="14100"/>
          <ac:grpSpMkLst>
            <pc:docMk/>
            <pc:sldMk cId="1532003294" sldId="302"/>
            <ac:grpSpMk id="3" creationId="{74DA2091-BD3B-C2C5-79FE-36B0F2ADF06A}"/>
          </ac:grpSpMkLst>
        </pc:grpChg>
        <pc:graphicFrameChg chg="add mod ord modVis replST">
          <ac:chgData name="Kohli, Abhi SIEP-IUV/I/C" userId="8df466d3-0db6-41cc-b122-11a6f246ec8b" providerId="ADAL" clId="{6ADDF83B-BC1C-427E-B398-69A66A75FB58}" dt="2024-08-25T17:26:31.650" v="1540"/>
          <ac:graphicFrameMkLst>
            <pc:docMk/>
            <pc:sldMk cId="1532003294" sldId="302"/>
            <ac:graphicFrameMk id="18" creationId="{51625EBC-2735-C44C-861A-A20DEAE6AA7E}"/>
          </ac:graphicFrameMkLst>
        </pc:graphicFrameChg>
        <pc:picChg chg="add mod modCrop">
          <ac:chgData name="Kohli, Abhi SIEP-IUV/I/C" userId="8df466d3-0db6-41cc-b122-11a6f246ec8b" providerId="ADAL" clId="{6ADDF83B-BC1C-427E-B398-69A66A75FB58}" dt="2024-08-27T21:13:18.514" v="4399" actId="1440"/>
          <ac:picMkLst>
            <pc:docMk/>
            <pc:sldMk cId="1532003294" sldId="302"/>
            <ac:picMk id="2" creationId="{414B4AD3-C615-B7A8-62D0-858887553997}"/>
          </ac:picMkLst>
        </pc:picChg>
        <pc:picChg chg="add del mod">
          <ac:chgData name="Kohli, Abhi SIEP-IUV/I/C" userId="8df466d3-0db6-41cc-b122-11a6f246ec8b" providerId="ADAL" clId="{6ADDF83B-BC1C-427E-B398-69A66A75FB58}" dt="2024-08-26T22:34:06.221" v="3135" actId="478"/>
          <ac:picMkLst>
            <pc:docMk/>
            <pc:sldMk cId="1532003294" sldId="302"/>
            <ac:picMk id="3" creationId="{847F7647-BB6F-044E-BE41-81E9163EAB58}"/>
          </ac:picMkLst>
        </pc:picChg>
        <pc:picChg chg="add mod">
          <ac:chgData name="Kohli, Abhi SIEP-IUV/I/C" userId="8df466d3-0db6-41cc-b122-11a6f246ec8b" providerId="ADAL" clId="{6ADDF83B-BC1C-427E-B398-69A66A75FB58}" dt="2024-08-26T22:34:09.916" v="3137" actId="1076"/>
          <ac:picMkLst>
            <pc:docMk/>
            <pc:sldMk cId="1532003294" sldId="302"/>
            <ac:picMk id="8" creationId="{D06449D5-01FC-7D49-4E10-01B0E698DDC6}"/>
          </ac:picMkLst>
        </pc:picChg>
        <pc:picChg chg="add mod ord modCrop">
          <ac:chgData name="Kohli, Abhi SIEP-IUV/I/C" userId="8df466d3-0db6-41cc-b122-11a6f246ec8b" providerId="ADAL" clId="{6ADDF83B-BC1C-427E-B398-69A66A75FB58}" dt="2024-08-27T21:13:18.514" v="4399" actId="1440"/>
          <ac:picMkLst>
            <pc:docMk/>
            <pc:sldMk cId="1532003294" sldId="302"/>
            <ac:picMk id="13" creationId="{259589F5-CDF0-23C0-B9DF-5D47DD72B2E0}"/>
          </ac:picMkLst>
        </pc:picChg>
        <pc:picChg chg="add mod ord modCrop">
          <ac:chgData name="Kohli, Abhi SIEP-IUV/I/C" userId="8df466d3-0db6-41cc-b122-11a6f246ec8b" providerId="ADAL" clId="{6ADDF83B-BC1C-427E-B398-69A66A75FB58}" dt="2024-08-27T21:14:53.143" v="4414" actId="1076"/>
          <ac:picMkLst>
            <pc:docMk/>
            <pc:sldMk cId="1532003294" sldId="302"/>
            <ac:picMk id="15" creationId="{A1728FEE-B364-B048-88A4-53B4342EE17E}"/>
          </ac:picMkLst>
        </pc:picChg>
        <pc:picChg chg="add mod ord modCrop">
          <ac:chgData name="Kohli, Abhi SIEP-IUV/I/C" userId="8df466d3-0db6-41cc-b122-11a6f246ec8b" providerId="ADAL" clId="{6ADDF83B-BC1C-427E-B398-69A66A75FB58}" dt="2024-08-27T22:03:32.020" v="4418" actId="14100"/>
          <ac:picMkLst>
            <pc:docMk/>
            <pc:sldMk cId="1532003294" sldId="302"/>
            <ac:picMk id="17" creationId="{D749956F-F72F-083D-084D-54E3F3F1C03D}"/>
          </ac:picMkLst>
        </pc:picChg>
      </pc:sldChg>
      <pc:sldChg chg="new del">
        <pc:chgData name="Kohli, Abhi SIEP-IUV/I/C" userId="8df466d3-0db6-41cc-b122-11a6f246ec8b" providerId="ADAL" clId="{6ADDF83B-BC1C-427E-B398-69A66A75FB58}" dt="2024-08-25T17:28:05.126" v="1565" actId="47"/>
        <pc:sldMkLst>
          <pc:docMk/>
          <pc:sldMk cId="1471192298" sldId="303"/>
        </pc:sldMkLst>
      </pc:sldChg>
      <pc:sldChg chg="addSp delSp modSp mod">
        <pc:chgData name="Kohli, Abhi SIEP-IUV/I/C" userId="8df466d3-0db6-41cc-b122-11a6f246ec8b" providerId="ADAL" clId="{6ADDF83B-BC1C-427E-B398-69A66A75FB58}" dt="2024-08-27T15:14:34.926" v="3511" actId="1076"/>
        <pc:sldMkLst>
          <pc:docMk/>
          <pc:sldMk cId="109599139" sldId="304"/>
        </pc:sldMkLst>
        <pc:spChg chg="del">
          <ac:chgData name="Kohli, Abhi SIEP-IUV/I/C" userId="8df466d3-0db6-41cc-b122-11a6f246ec8b" providerId="ADAL" clId="{6ADDF83B-BC1C-427E-B398-69A66A75FB58}" dt="2024-08-25T17:28:08.500" v="1566" actId="478"/>
          <ac:spMkLst>
            <pc:docMk/>
            <pc:sldMk cId="109599139" sldId="304"/>
            <ac:spMk id="3" creationId="{26CEF3A0-AC1B-43D7-BA36-AF12DC27AF7C}"/>
          </ac:spMkLst>
        </pc:spChg>
        <pc:spChg chg="add mod">
          <ac:chgData name="Kohli, Abhi SIEP-IUV/I/C" userId="8df466d3-0db6-41cc-b122-11a6f246ec8b" providerId="ADAL" clId="{6ADDF83B-BC1C-427E-B398-69A66A75FB58}" dt="2024-08-26T15:02:53.296" v="2965" actId="1076"/>
          <ac:spMkLst>
            <pc:docMk/>
            <pc:sldMk cId="109599139" sldId="304"/>
            <ac:spMk id="3" creationId="{926CAE53-D505-9A3D-945D-BEE5BD7A91E0}"/>
          </ac:spMkLst>
        </pc:spChg>
        <pc:spChg chg="mod">
          <ac:chgData name="Kohli, Abhi SIEP-IUV/I/C" userId="8df466d3-0db6-41cc-b122-11a6f246ec8b" providerId="ADAL" clId="{6ADDF83B-BC1C-427E-B398-69A66A75FB58}" dt="2024-08-27T15:14:28.880" v="3509" actId="1076"/>
          <ac:spMkLst>
            <pc:docMk/>
            <pc:sldMk cId="109599139" sldId="304"/>
            <ac:spMk id="7" creationId="{EA1D1F76-7996-4854-889C-56E7C14C5831}"/>
          </ac:spMkLst>
        </pc:spChg>
        <pc:spChg chg="mod">
          <ac:chgData name="Kohli, Abhi SIEP-IUV/I/C" userId="8df466d3-0db6-41cc-b122-11a6f246ec8b" providerId="ADAL" clId="{6ADDF83B-BC1C-427E-B398-69A66A75FB58}" dt="2024-08-25T17:29:10.419" v="1583" actId="1076"/>
          <ac:spMkLst>
            <pc:docMk/>
            <pc:sldMk cId="109599139" sldId="304"/>
            <ac:spMk id="8" creationId="{82B39E95-169B-3034-D33C-6D8C361814B2}"/>
          </ac:spMkLst>
        </pc:spChg>
        <pc:spChg chg="mod">
          <ac:chgData name="Kohli, Abhi SIEP-IUV/I/C" userId="8df466d3-0db6-41cc-b122-11a6f246ec8b" providerId="ADAL" clId="{6ADDF83B-BC1C-427E-B398-69A66A75FB58}" dt="2024-08-26T23:31:48.342" v="3430" actId="1076"/>
          <ac:spMkLst>
            <pc:docMk/>
            <pc:sldMk cId="109599139" sldId="304"/>
            <ac:spMk id="9" creationId="{4551AFCA-E4F2-406D-8796-0A37A1BAC582}"/>
          </ac:spMkLst>
        </pc:spChg>
        <pc:spChg chg="del">
          <ac:chgData name="Kohli, Abhi SIEP-IUV/I/C" userId="8df466d3-0db6-41cc-b122-11a6f246ec8b" providerId="ADAL" clId="{6ADDF83B-BC1C-427E-B398-69A66A75FB58}" dt="2024-08-25T17:28:11.340" v="1569" actId="478"/>
          <ac:spMkLst>
            <pc:docMk/>
            <pc:sldMk cId="109599139" sldId="304"/>
            <ac:spMk id="10" creationId="{D32C0BEC-EC48-413F-A4EF-492452612218}"/>
          </ac:spMkLst>
        </pc:spChg>
        <pc:spChg chg="del">
          <ac:chgData name="Kohli, Abhi SIEP-IUV/I/C" userId="8df466d3-0db6-41cc-b122-11a6f246ec8b" providerId="ADAL" clId="{6ADDF83B-BC1C-427E-B398-69A66A75FB58}" dt="2024-08-25T17:28:27.508" v="1577" actId="478"/>
          <ac:spMkLst>
            <pc:docMk/>
            <pc:sldMk cId="109599139" sldId="304"/>
            <ac:spMk id="11" creationId="{8DA23AC1-2D08-411A-903A-49942FCEAAF0}"/>
          </ac:spMkLst>
        </pc:spChg>
        <pc:spChg chg="del">
          <ac:chgData name="Kohli, Abhi SIEP-IUV/I/C" userId="8df466d3-0db6-41cc-b122-11a6f246ec8b" providerId="ADAL" clId="{6ADDF83B-BC1C-427E-B398-69A66A75FB58}" dt="2024-08-25T17:28:13.977" v="1570" actId="478"/>
          <ac:spMkLst>
            <pc:docMk/>
            <pc:sldMk cId="109599139" sldId="304"/>
            <ac:spMk id="12" creationId="{491F2F45-C354-4489-A82A-A5C55ADC40C9}"/>
          </ac:spMkLst>
        </pc:spChg>
        <pc:spChg chg="del">
          <ac:chgData name="Kohli, Abhi SIEP-IUV/I/C" userId="8df466d3-0db6-41cc-b122-11a6f246ec8b" providerId="ADAL" clId="{6ADDF83B-BC1C-427E-B398-69A66A75FB58}" dt="2024-08-25T17:28:10.477" v="1568" actId="478"/>
          <ac:spMkLst>
            <pc:docMk/>
            <pc:sldMk cId="109599139" sldId="304"/>
            <ac:spMk id="13" creationId="{4982DC3B-A195-4F27-D097-4245D30B8C60}"/>
          </ac:spMkLst>
        </pc:spChg>
        <pc:spChg chg="mod">
          <ac:chgData name="Kohli, Abhi SIEP-IUV/I/C" userId="8df466d3-0db6-41cc-b122-11a6f246ec8b" providerId="ADAL" clId="{6ADDF83B-BC1C-427E-B398-69A66A75FB58}" dt="2024-08-26T15:04:38.779" v="3004" actId="1076"/>
          <ac:spMkLst>
            <pc:docMk/>
            <pc:sldMk cId="109599139" sldId="304"/>
            <ac:spMk id="14" creationId="{BDB84E31-77BF-4418-8081-6D9F2653A2A0}"/>
          </ac:spMkLst>
        </pc:spChg>
        <pc:spChg chg="add del mod">
          <ac:chgData name="Kohli, Abhi SIEP-IUV/I/C" userId="8df466d3-0db6-41cc-b122-11a6f246ec8b" providerId="ADAL" clId="{6ADDF83B-BC1C-427E-B398-69A66A75FB58}" dt="2024-08-27T15:14:34.926" v="3511" actId="1076"/>
          <ac:spMkLst>
            <pc:docMk/>
            <pc:sldMk cId="109599139" sldId="304"/>
            <ac:spMk id="16" creationId="{F2D369BC-9E1A-4AFC-BC05-FA3BB39D5514}"/>
          </ac:spMkLst>
        </pc:spChg>
        <pc:spChg chg="del">
          <ac:chgData name="Kohli, Abhi SIEP-IUV/I/C" userId="8df466d3-0db6-41cc-b122-11a6f246ec8b" providerId="ADAL" clId="{6ADDF83B-BC1C-427E-B398-69A66A75FB58}" dt="2024-08-25T17:28:26.284" v="1575" actId="478"/>
          <ac:spMkLst>
            <pc:docMk/>
            <pc:sldMk cId="109599139" sldId="304"/>
            <ac:spMk id="19" creationId="{0737150B-00D7-8FFC-09B3-2834D620190D}"/>
          </ac:spMkLst>
        </pc:spChg>
        <pc:spChg chg="add mod">
          <ac:chgData name="Kohli, Abhi SIEP-IUV/I/C" userId="8df466d3-0db6-41cc-b122-11a6f246ec8b" providerId="ADAL" clId="{6ADDF83B-BC1C-427E-B398-69A66A75FB58}" dt="2024-08-26T15:04:50.960" v="3013" actId="20577"/>
          <ac:spMkLst>
            <pc:docMk/>
            <pc:sldMk cId="109599139" sldId="304"/>
            <ac:spMk id="19" creationId="{DF6B706B-0044-0820-1FA6-478BFB5BAE98}"/>
          </ac:spMkLst>
        </pc:spChg>
        <pc:spChg chg="del">
          <ac:chgData name="Kohli, Abhi SIEP-IUV/I/C" userId="8df466d3-0db6-41cc-b122-11a6f246ec8b" providerId="ADAL" clId="{6ADDF83B-BC1C-427E-B398-69A66A75FB58}" dt="2024-08-25T17:29:06.637" v="1580" actId="478"/>
          <ac:spMkLst>
            <pc:docMk/>
            <pc:sldMk cId="109599139" sldId="304"/>
            <ac:spMk id="23" creationId="{85658B6D-991A-8ED3-E998-1B9BD8BF56EA}"/>
          </ac:spMkLst>
        </pc:spChg>
        <pc:spChg chg="add del mod">
          <ac:chgData name="Kohli, Abhi SIEP-IUV/I/C" userId="8df466d3-0db6-41cc-b122-11a6f246ec8b" providerId="ADAL" clId="{6ADDF83B-BC1C-427E-B398-69A66A75FB58}" dt="2024-08-25T17:28:23.883" v="1573" actId="478"/>
          <ac:spMkLst>
            <pc:docMk/>
            <pc:sldMk cId="109599139" sldId="304"/>
            <ac:spMk id="24" creationId="{2965130C-113A-DBD8-99CB-489A98BF1771}"/>
          </ac:spMkLst>
        </pc:spChg>
        <pc:spChg chg="del mod">
          <ac:chgData name="Kohli, Abhi SIEP-IUV/I/C" userId="8df466d3-0db6-41cc-b122-11a6f246ec8b" providerId="ADAL" clId="{6ADDF83B-BC1C-427E-B398-69A66A75FB58}" dt="2024-08-27T15:11:31.653" v="3470" actId="478"/>
          <ac:spMkLst>
            <pc:docMk/>
            <pc:sldMk cId="109599139" sldId="304"/>
            <ac:spMk id="26" creationId="{6512F4D4-31B3-E661-FADB-DE78D3F41EDC}"/>
          </ac:spMkLst>
        </pc:spChg>
        <pc:spChg chg="add mod">
          <ac:chgData name="Kohli, Abhi SIEP-IUV/I/C" userId="8df466d3-0db6-41cc-b122-11a6f246ec8b" providerId="ADAL" clId="{6ADDF83B-BC1C-427E-B398-69A66A75FB58}" dt="2024-08-26T23:32:14.027" v="3454" actId="20577"/>
          <ac:spMkLst>
            <pc:docMk/>
            <pc:sldMk cId="109599139" sldId="304"/>
            <ac:spMk id="27" creationId="{68020B24-4807-5779-085E-E98FAE34DFF6}"/>
          </ac:spMkLst>
        </pc:spChg>
        <pc:spChg chg="del">
          <ac:chgData name="Kohli, Abhi SIEP-IUV/I/C" userId="8df466d3-0db6-41cc-b122-11a6f246ec8b" providerId="ADAL" clId="{6ADDF83B-BC1C-427E-B398-69A66A75FB58}" dt="2024-08-25T17:29:05.303" v="1578" actId="478"/>
          <ac:spMkLst>
            <pc:docMk/>
            <pc:sldMk cId="109599139" sldId="304"/>
            <ac:spMk id="27" creationId="{D6106114-B8B7-71BA-8737-F21E1681CAB0}"/>
          </ac:spMkLst>
        </pc:spChg>
        <pc:spChg chg="del">
          <ac:chgData name="Kohli, Abhi SIEP-IUV/I/C" userId="8df466d3-0db6-41cc-b122-11a6f246ec8b" providerId="ADAL" clId="{6ADDF83B-BC1C-427E-B398-69A66A75FB58}" dt="2024-08-25T17:28:25.232" v="1574" actId="478"/>
          <ac:spMkLst>
            <pc:docMk/>
            <pc:sldMk cId="109599139" sldId="304"/>
            <ac:spMk id="28" creationId="{5050E406-5424-EEFA-0659-6C90EF107A44}"/>
          </ac:spMkLst>
        </pc:spChg>
        <pc:picChg chg="del mod">
          <ac:chgData name="Kohli, Abhi SIEP-IUV/I/C" userId="8df466d3-0db6-41cc-b122-11a6f246ec8b" providerId="ADAL" clId="{6ADDF83B-BC1C-427E-B398-69A66A75FB58}" dt="2024-08-26T23:30:53.202" v="3404" actId="478"/>
          <ac:picMkLst>
            <pc:docMk/>
            <pc:sldMk cId="109599139" sldId="304"/>
            <ac:picMk id="2" creationId="{05A49C2C-FE5A-41E8-A957-0AE09C870899}"/>
          </ac:picMkLst>
        </pc:picChg>
        <pc:picChg chg="add mod modCrop">
          <ac:chgData name="Kohli, Abhi SIEP-IUV/I/C" userId="8df466d3-0db6-41cc-b122-11a6f246ec8b" providerId="ADAL" clId="{6ADDF83B-BC1C-427E-B398-69A66A75FB58}" dt="2024-08-26T15:03:00.269" v="2966" actId="1076"/>
          <ac:picMkLst>
            <pc:docMk/>
            <pc:sldMk cId="109599139" sldId="304"/>
            <ac:picMk id="11" creationId="{89ED22B6-1D95-F525-DE1D-DEB85BDAA72B}"/>
          </ac:picMkLst>
        </pc:picChg>
        <pc:picChg chg="add mod">
          <ac:chgData name="Kohli, Abhi SIEP-IUV/I/C" userId="8df466d3-0db6-41cc-b122-11a6f246ec8b" providerId="ADAL" clId="{6ADDF83B-BC1C-427E-B398-69A66A75FB58}" dt="2024-08-26T15:04:41.397" v="3005" actId="1076"/>
          <ac:picMkLst>
            <pc:docMk/>
            <pc:sldMk cId="109599139" sldId="304"/>
            <ac:picMk id="13" creationId="{479E886D-1BD1-F640-1228-62A83B16F377}"/>
          </ac:picMkLst>
        </pc:picChg>
        <pc:picChg chg="del mod">
          <ac:chgData name="Kohli, Abhi SIEP-IUV/I/C" userId="8df466d3-0db6-41cc-b122-11a6f246ec8b" providerId="ADAL" clId="{6ADDF83B-BC1C-427E-B398-69A66A75FB58}" dt="2024-08-26T15:00:07.913" v="2929" actId="478"/>
          <ac:picMkLst>
            <pc:docMk/>
            <pc:sldMk cId="109599139" sldId="304"/>
            <ac:picMk id="17" creationId="{403B9C35-4695-496E-8E5B-6CDB91C27C97}"/>
          </ac:picMkLst>
        </pc:picChg>
        <pc:picChg chg="del">
          <ac:chgData name="Kohli, Abhi SIEP-IUV/I/C" userId="8df466d3-0db6-41cc-b122-11a6f246ec8b" providerId="ADAL" clId="{6ADDF83B-BC1C-427E-B398-69A66A75FB58}" dt="2024-08-25T17:28:26.802" v="1576" actId="478"/>
          <ac:picMkLst>
            <pc:docMk/>
            <pc:sldMk cId="109599139" sldId="304"/>
            <ac:picMk id="20" creationId="{AE6AD0D5-9B25-340F-EB1C-84725C742136}"/>
          </ac:picMkLst>
        </pc:picChg>
        <pc:picChg chg="add del mod">
          <ac:chgData name="Kohli, Abhi SIEP-IUV/I/C" userId="8df466d3-0db6-41cc-b122-11a6f246ec8b" providerId="ADAL" clId="{6ADDF83B-BC1C-427E-B398-69A66A75FB58}" dt="2024-08-26T23:30:06.572" v="3398" actId="22"/>
          <ac:picMkLst>
            <pc:docMk/>
            <pc:sldMk cId="109599139" sldId="304"/>
            <ac:picMk id="21" creationId="{72A92968-0980-7B96-7FC3-1BA442A6BD5D}"/>
          </ac:picMkLst>
        </pc:picChg>
        <pc:picChg chg="del">
          <ac:chgData name="Kohli, Abhi SIEP-IUV/I/C" userId="8df466d3-0db6-41cc-b122-11a6f246ec8b" providerId="ADAL" clId="{6ADDF83B-BC1C-427E-B398-69A66A75FB58}" dt="2024-08-25T17:29:05.931" v="1579" actId="478"/>
          <ac:picMkLst>
            <pc:docMk/>
            <pc:sldMk cId="109599139" sldId="304"/>
            <ac:picMk id="21" creationId="{D2D8433E-6508-ED2C-F8D1-6134275DE560}"/>
          </ac:picMkLst>
        </pc:picChg>
        <pc:picChg chg="add mod">
          <ac:chgData name="Kohli, Abhi SIEP-IUV/I/C" userId="8df466d3-0db6-41cc-b122-11a6f246ec8b" providerId="ADAL" clId="{6ADDF83B-BC1C-427E-B398-69A66A75FB58}" dt="2024-08-26T23:31:42.052" v="3427" actId="1076"/>
          <ac:picMkLst>
            <pc:docMk/>
            <pc:sldMk cId="109599139" sldId="304"/>
            <ac:picMk id="23" creationId="{8D146622-27D1-F728-A9F1-BAD6F189A0B4}"/>
          </ac:picMkLst>
        </pc:picChg>
        <pc:picChg chg="del">
          <ac:chgData name="Kohli, Abhi SIEP-IUV/I/C" userId="8df466d3-0db6-41cc-b122-11a6f246ec8b" providerId="ADAL" clId="{6ADDF83B-BC1C-427E-B398-69A66A75FB58}" dt="2024-08-25T17:28:09.193" v="1567" actId="478"/>
          <ac:picMkLst>
            <pc:docMk/>
            <pc:sldMk cId="109599139" sldId="304"/>
            <ac:picMk id="25" creationId="{321ACF75-8FC3-B806-26F6-E991FFB9675E}"/>
          </ac:picMkLst>
        </pc:picChg>
        <pc:picChg chg="add mod">
          <ac:chgData name="Kohli, Abhi SIEP-IUV/I/C" userId="8df466d3-0db6-41cc-b122-11a6f246ec8b" providerId="ADAL" clId="{6ADDF83B-BC1C-427E-B398-69A66A75FB58}" dt="2024-08-26T23:31:55.745" v="3433" actId="1076"/>
          <ac:picMkLst>
            <pc:docMk/>
            <pc:sldMk cId="109599139" sldId="304"/>
            <ac:picMk id="25" creationId="{820E164B-D114-B32F-E44A-68144895624F}"/>
          </ac:picMkLst>
        </pc:picChg>
      </pc:sldChg>
      <pc:sldChg chg="new del">
        <pc:chgData name="Kohli, Abhi SIEP-IUV/I/C" userId="8df466d3-0db6-41cc-b122-11a6f246ec8b" providerId="ADAL" clId="{6ADDF83B-BC1C-427E-B398-69A66A75FB58}" dt="2024-08-25T20:17:21.105" v="1746" actId="47"/>
        <pc:sldMkLst>
          <pc:docMk/>
          <pc:sldMk cId="393198560" sldId="305"/>
        </pc:sldMkLst>
      </pc:sldChg>
      <pc:sldChg chg="addSp delSp modSp mod">
        <pc:chgData name="Kohli, Abhi SIEP-IUV/I/C" userId="8df466d3-0db6-41cc-b122-11a6f246ec8b" providerId="ADAL" clId="{6ADDF83B-BC1C-427E-B398-69A66A75FB58}" dt="2024-08-29T03:11:39.716" v="5964" actId="948"/>
        <pc:sldMkLst>
          <pc:docMk/>
          <pc:sldMk cId="2458559520" sldId="306"/>
        </pc:sldMkLst>
        <pc:spChg chg="del mod">
          <ac:chgData name="Kohli, Abhi SIEP-IUV/I/C" userId="8df466d3-0db6-41cc-b122-11a6f246ec8b" providerId="ADAL" clId="{6ADDF83B-BC1C-427E-B398-69A66A75FB58}" dt="2024-08-27T21:10:10.836" v="4377" actId="478"/>
          <ac:spMkLst>
            <pc:docMk/>
            <pc:sldMk cId="2458559520" sldId="306"/>
            <ac:spMk id="5" creationId="{74F4EDF6-E89A-4840-951E-333610902CC0}"/>
          </ac:spMkLst>
        </pc:spChg>
        <pc:spChg chg="mod">
          <ac:chgData name="Kohli, Abhi SIEP-IUV/I/C" userId="8df466d3-0db6-41cc-b122-11a6f246ec8b" providerId="ADAL" clId="{6ADDF83B-BC1C-427E-B398-69A66A75FB58}" dt="2024-08-27T15:20:47.751" v="3513" actId="1076"/>
          <ac:spMkLst>
            <pc:docMk/>
            <pc:sldMk cId="2458559520" sldId="306"/>
            <ac:spMk id="7" creationId="{AC835980-423B-504A-57FD-F0EDBCC99671}"/>
          </ac:spMkLst>
        </pc:spChg>
        <pc:spChg chg="add del mod">
          <ac:chgData name="Kohli, Abhi SIEP-IUV/I/C" userId="8df466d3-0db6-41cc-b122-11a6f246ec8b" providerId="ADAL" clId="{6ADDF83B-BC1C-427E-B398-69A66A75FB58}" dt="2024-08-27T15:20:50.343" v="3514" actId="478"/>
          <ac:spMkLst>
            <pc:docMk/>
            <pc:sldMk cId="2458559520" sldId="306"/>
            <ac:spMk id="8" creationId="{4348BB1E-FB1E-FE47-32CF-780E0526A518}"/>
          </ac:spMkLst>
        </pc:spChg>
        <pc:spChg chg="mod">
          <ac:chgData name="Kohli, Abhi SIEP-IUV/I/C" userId="8df466d3-0db6-41cc-b122-11a6f246ec8b" providerId="ADAL" clId="{6ADDF83B-BC1C-427E-B398-69A66A75FB58}" dt="2024-08-27T15:20:47.751" v="3513" actId="1076"/>
          <ac:spMkLst>
            <pc:docMk/>
            <pc:sldMk cId="2458559520" sldId="306"/>
            <ac:spMk id="9" creationId="{4551AFCA-E4F2-406D-8796-0A37A1BAC582}"/>
          </ac:spMkLst>
        </pc:spChg>
        <pc:spChg chg="del">
          <ac:chgData name="Kohli, Abhi SIEP-IUV/I/C" userId="8df466d3-0db6-41cc-b122-11a6f246ec8b" providerId="ADAL" clId="{6ADDF83B-BC1C-427E-B398-69A66A75FB58}" dt="2024-08-26T20:54:46.445" v="3065" actId="478"/>
          <ac:spMkLst>
            <pc:docMk/>
            <pc:sldMk cId="2458559520" sldId="306"/>
            <ac:spMk id="10" creationId="{D32C0BEC-EC48-413F-A4EF-492452612218}"/>
          </ac:spMkLst>
        </pc:spChg>
        <pc:spChg chg="mod">
          <ac:chgData name="Kohli, Abhi SIEP-IUV/I/C" userId="8df466d3-0db6-41cc-b122-11a6f246ec8b" providerId="ADAL" clId="{6ADDF83B-BC1C-427E-B398-69A66A75FB58}" dt="2024-08-27T15:20:47.751" v="3513" actId="1076"/>
          <ac:spMkLst>
            <pc:docMk/>
            <pc:sldMk cId="2458559520" sldId="306"/>
            <ac:spMk id="11" creationId="{8DA23AC1-2D08-411A-903A-49942FCEAAF0}"/>
          </ac:spMkLst>
        </pc:spChg>
        <pc:spChg chg="del">
          <ac:chgData name="Kohli, Abhi SIEP-IUV/I/C" userId="8df466d3-0db6-41cc-b122-11a6f246ec8b" providerId="ADAL" clId="{6ADDF83B-BC1C-427E-B398-69A66A75FB58}" dt="2024-08-26T15:06:54.264" v="3032" actId="478"/>
          <ac:spMkLst>
            <pc:docMk/>
            <pc:sldMk cId="2458559520" sldId="306"/>
            <ac:spMk id="12" creationId="{C97AB6FE-C906-352B-32D4-DB67C41EA83F}"/>
          </ac:spMkLst>
        </pc:spChg>
        <pc:spChg chg="del mod">
          <ac:chgData name="Kohli, Abhi SIEP-IUV/I/C" userId="8df466d3-0db6-41cc-b122-11a6f246ec8b" providerId="ADAL" clId="{6ADDF83B-BC1C-427E-B398-69A66A75FB58}" dt="2024-08-26T20:54:48.862" v="3068" actId="478"/>
          <ac:spMkLst>
            <pc:docMk/>
            <pc:sldMk cId="2458559520" sldId="306"/>
            <ac:spMk id="13" creationId="{C434B94E-A91D-4527-A0B7-9A44C1615A19}"/>
          </ac:spMkLst>
        </pc:spChg>
        <pc:spChg chg="mod">
          <ac:chgData name="Kohli, Abhi SIEP-IUV/I/C" userId="8df466d3-0db6-41cc-b122-11a6f246ec8b" providerId="ADAL" clId="{6ADDF83B-BC1C-427E-B398-69A66A75FB58}" dt="2024-08-27T15:20:47.751" v="3513" actId="1076"/>
          <ac:spMkLst>
            <pc:docMk/>
            <pc:sldMk cId="2458559520" sldId="306"/>
            <ac:spMk id="14" creationId="{F152FB6E-E9E7-4499-9A92-06FE91CE5A53}"/>
          </ac:spMkLst>
        </pc:spChg>
        <pc:spChg chg="del">
          <ac:chgData name="Kohli, Abhi SIEP-IUV/I/C" userId="8df466d3-0db6-41cc-b122-11a6f246ec8b" providerId="ADAL" clId="{6ADDF83B-BC1C-427E-B398-69A66A75FB58}" dt="2024-08-26T20:54:43.508" v="3064" actId="478"/>
          <ac:spMkLst>
            <pc:docMk/>
            <pc:sldMk cId="2458559520" sldId="306"/>
            <ac:spMk id="15" creationId="{C92817ED-E9A5-4639-9AC0-AB03390FB0F0}"/>
          </ac:spMkLst>
        </pc:spChg>
        <pc:spChg chg="mod">
          <ac:chgData name="Kohli, Abhi SIEP-IUV/I/C" userId="8df466d3-0db6-41cc-b122-11a6f246ec8b" providerId="ADAL" clId="{6ADDF83B-BC1C-427E-B398-69A66A75FB58}" dt="2024-08-29T03:11:39.716" v="5964" actId="948"/>
          <ac:spMkLst>
            <pc:docMk/>
            <pc:sldMk cId="2458559520" sldId="306"/>
            <ac:spMk id="19" creationId="{69A737F5-446E-46C2-B1CA-01778EF0B0A3}"/>
          </ac:spMkLst>
        </pc:spChg>
        <pc:spChg chg="del mod">
          <ac:chgData name="Kohli, Abhi SIEP-IUV/I/C" userId="8df466d3-0db6-41cc-b122-11a6f246ec8b" providerId="ADAL" clId="{6ADDF83B-BC1C-427E-B398-69A66A75FB58}" dt="2024-08-26T20:54:50.211" v="3069" actId="478"/>
          <ac:spMkLst>
            <pc:docMk/>
            <pc:sldMk cId="2458559520" sldId="306"/>
            <ac:spMk id="20" creationId="{BDD0DD0A-09EE-17D6-8F43-4ABB6265A360}"/>
          </ac:spMkLst>
        </pc:spChg>
        <pc:spChg chg="add mod">
          <ac:chgData name="Kohli, Abhi SIEP-IUV/I/C" userId="8df466d3-0db6-41cc-b122-11a6f246ec8b" providerId="ADAL" clId="{6ADDF83B-BC1C-427E-B398-69A66A75FB58}" dt="2024-08-27T16:32:34.474" v="3860" actId="14100"/>
          <ac:spMkLst>
            <pc:docMk/>
            <pc:sldMk cId="2458559520" sldId="306"/>
            <ac:spMk id="24" creationId="{06F446AA-189D-84F9-F557-43F3708070F4}"/>
          </ac:spMkLst>
        </pc:spChg>
        <pc:picChg chg="add mod modCrop">
          <ac:chgData name="Kohli, Abhi SIEP-IUV/I/C" userId="8df466d3-0db6-41cc-b122-11a6f246ec8b" providerId="ADAL" clId="{6ADDF83B-BC1C-427E-B398-69A66A75FB58}" dt="2024-08-27T16:32:37.454" v="3862" actId="1076"/>
          <ac:picMkLst>
            <pc:docMk/>
            <pc:sldMk cId="2458559520" sldId="306"/>
            <ac:picMk id="3" creationId="{1D73EC08-3CBE-F6E6-AE04-240C4F1DD69B}"/>
          </ac:picMkLst>
        </pc:picChg>
        <pc:picChg chg="add mod">
          <ac:chgData name="Kohli, Abhi SIEP-IUV/I/C" userId="8df466d3-0db6-41cc-b122-11a6f246ec8b" providerId="ADAL" clId="{6ADDF83B-BC1C-427E-B398-69A66A75FB58}" dt="2024-08-27T16:32:40.782" v="3864" actId="1076"/>
          <ac:picMkLst>
            <pc:docMk/>
            <pc:sldMk cId="2458559520" sldId="306"/>
            <ac:picMk id="10" creationId="{1F31EA58-E02C-5C07-05B8-5197D029212C}"/>
          </ac:picMkLst>
        </pc:picChg>
        <pc:picChg chg="add mod">
          <ac:chgData name="Kohli, Abhi SIEP-IUV/I/C" userId="8df466d3-0db6-41cc-b122-11a6f246ec8b" providerId="ADAL" clId="{6ADDF83B-BC1C-427E-B398-69A66A75FB58}" dt="2024-08-27T16:32:48.919" v="3869" actId="1076"/>
          <ac:picMkLst>
            <pc:docMk/>
            <pc:sldMk cId="2458559520" sldId="306"/>
            <ac:picMk id="12" creationId="{14A219C1-90EE-2BF1-20AB-4B2F300BC603}"/>
          </ac:picMkLst>
        </pc:picChg>
        <pc:picChg chg="add mod modCrop">
          <ac:chgData name="Kohli, Abhi SIEP-IUV/I/C" userId="8df466d3-0db6-41cc-b122-11a6f246ec8b" providerId="ADAL" clId="{6ADDF83B-BC1C-427E-B398-69A66A75FB58}" dt="2024-08-27T16:32:47.526" v="3868" actId="1076"/>
          <ac:picMkLst>
            <pc:docMk/>
            <pc:sldMk cId="2458559520" sldId="306"/>
            <ac:picMk id="13" creationId="{7004C7E1-67EA-B7CB-3C76-C4901686B2F7}"/>
          </ac:picMkLst>
        </pc:picChg>
        <pc:picChg chg="add mod modCrop">
          <ac:chgData name="Kohli, Abhi SIEP-IUV/I/C" userId="8df466d3-0db6-41cc-b122-11a6f246ec8b" providerId="ADAL" clId="{6ADDF83B-BC1C-427E-B398-69A66A75FB58}" dt="2024-08-27T16:32:50.549" v="3871" actId="1076"/>
          <ac:picMkLst>
            <pc:docMk/>
            <pc:sldMk cId="2458559520" sldId="306"/>
            <ac:picMk id="15" creationId="{0677A901-F2BA-66AE-EF6C-16CD52614BED}"/>
          </ac:picMkLst>
        </pc:picChg>
        <pc:picChg chg="del">
          <ac:chgData name="Kohli, Abhi SIEP-IUV/I/C" userId="8df466d3-0db6-41cc-b122-11a6f246ec8b" providerId="ADAL" clId="{6ADDF83B-BC1C-427E-B398-69A66A75FB58}" dt="2024-08-26T20:54:47.174" v="3066" actId="478"/>
          <ac:picMkLst>
            <pc:docMk/>
            <pc:sldMk cId="2458559520" sldId="306"/>
            <ac:picMk id="16" creationId="{240AFB97-5C0F-76B4-4A42-271A4FF87660}"/>
          </ac:picMkLst>
        </pc:picChg>
        <pc:picChg chg="add mod">
          <ac:chgData name="Kohli, Abhi SIEP-IUV/I/C" userId="8df466d3-0db6-41cc-b122-11a6f246ec8b" providerId="ADAL" clId="{6ADDF83B-BC1C-427E-B398-69A66A75FB58}" dt="2024-08-27T16:33:10.489" v="3878" actId="1076"/>
          <ac:picMkLst>
            <pc:docMk/>
            <pc:sldMk cId="2458559520" sldId="306"/>
            <ac:picMk id="16" creationId="{AC9C8494-B810-C116-9D96-5BCF3C51728B}"/>
          </ac:picMkLst>
        </pc:picChg>
        <pc:picChg chg="add mod modCrop">
          <ac:chgData name="Kohli, Abhi SIEP-IUV/I/C" userId="8df466d3-0db6-41cc-b122-11a6f246ec8b" providerId="ADAL" clId="{6ADDF83B-BC1C-427E-B398-69A66A75FB58}" dt="2024-08-27T16:33:15.978" v="3882" actId="1076"/>
          <ac:picMkLst>
            <pc:docMk/>
            <pc:sldMk cId="2458559520" sldId="306"/>
            <ac:picMk id="17" creationId="{AE0EA4F9-0132-F346-416A-AC673AE0E1CF}"/>
          </ac:picMkLst>
        </pc:picChg>
        <pc:picChg chg="add del">
          <ac:chgData name="Kohli, Abhi SIEP-IUV/I/C" userId="8df466d3-0db6-41cc-b122-11a6f246ec8b" providerId="ADAL" clId="{6ADDF83B-BC1C-427E-B398-69A66A75FB58}" dt="2024-08-26T21:41:17.953" v="3075" actId="478"/>
          <ac:picMkLst>
            <pc:docMk/>
            <pc:sldMk cId="2458559520" sldId="306"/>
            <ac:picMk id="17" creationId="{E8A76FDA-04F9-0BA0-BA50-1E56432DD43F}"/>
          </ac:picMkLst>
        </pc:picChg>
        <pc:picChg chg="del">
          <ac:chgData name="Kohli, Abhi SIEP-IUV/I/C" userId="8df466d3-0db6-41cc-b122-11a6f246ec8b" providerId="ADAL" clId="{6ADDF83B-BC1C-427E-B398-69A66A75FB58}" dt="2024-08-26T20:54:50.886" v="3070" actId="478"/>
          <ac:picMkLst>
            <pc:docMk/>
            <pc:sldMk cId="2458559520" sldId="306"/>
            <ac:picMk id="18" creationId="{FB7CADED-1BD5-F94E-254A-9B131EF3E851}"/>
          </ac:picMkLst>
        </pc:picChg>
        <pc:picChg chg="mod">
          <ac:chgData name="Kohli, Abhi SIEP-IUV/I/C" userId="8df466d3-0db6-41cc-b122-11a6f246ec8b" providerId="ADAL" clId="{6ADDF83B-BC1C-427E-B398-69A66A75FB58}" dt="2024-08-27T15:20:47.751" v="3513" actId="1076"/>
          <ac:picMkLst>
            <pc:docMk/>
            <pc:sldMk cId="2458559520" sldId="306"/>
            <ac:picMk id="22" creationId="{A9E30E52-36FE-A89A-0C99-2393219DFE64}"/>
          </ac:picMkLst>
        </pc:picChg>
        <pc:picChg chg="add mod">
          <ac:chgData name="Kohli, Abhi SIEP-IUV/I/C" userId="8df466d3-0db6-41cc-b122-11a6f246ec8b" providerId="ADAL" clId="{6ADDF83B-BC1C-427E-B398-69A66A75FB58}" dt="2024-08-27T16:32:24.393" v="3857" actId="1076"/>
          <ac:picMkLst>
            <pc:docMk/>
            <pc:sldMk cId="2458559520" sldId="306"/>
            <ac:picMk id="23" creationId="{2B5177DF-D6CD-E375-0B05-6CA7F44B97F2}"/>
          </ac:picMkLst>
        </pc:picChg>
      </pc:sldChg>
      <pc:sldChg chg="addSp delSp modSp del mod">
        <pc:chgData name="Kohli, Abhi SIEP-IUV/I/C" userId="8df466d3-0db6-41cc-b122-11a6f246ec8b" providerId="ADAL" clId="{6ADDF83B-BC1C-427E-B398-69A66A75FB58}" dt="2024-08-26T20:56:02.769" v="3072" actId="2696"/>
        <pc:sldMkLst>
          <pc:docMk/>
          <pc:sldMk cId="2513283331" sldId="307"/>
        </pc:sldMkLst>
        <pc:spChg chg="mod">
          <ac:chgData name="Kohli, Abhi SIEP-IUV/I/C" userId="8df466d3-0db6-41cc-b122-11a6f246ec8b" providerId="ADAL" clId="{6ADDF83B-BC1C-427E-B398-69A66A75FB58}" dt="2024-08-25T20:24:41.779" v="1977" actId="948"/>
          <ac:spMkLst>
            <pc:docMk/>
            <pc:sldMk cId="2513283331" sldId="307"/>
            <ac:spMk id="2" creationId="{8460295B-54B9-4937-90E3-BAB9CE69E30B}"/>
          </ac:spMkLst>
        </pc:spChg>
        <pc:spChg chg="add del mod modVis">
          <ac:chgData name="Kohli, Abhi SIEP-IUV/I/C" userId="8df466d3-0db6-41cc-b122-11a6f246ec8b" providerId="ADAL" clId="{6ADDF83B-BC1C-427E-B398-69A66A75FB58}" dt="2024-08-25T20:24:19.287" v="1814"/>
          <ac:spMkLst>
            <pc:docMk/>
            <pc:sldMk cId="2513283331" sldId="307"/>
            <ac:spMk id="3" creationId="{AE576751-7380-3343-75FF-DFCB064F4D2A}"/>
          </ac:spMkLst>
        </pc:spChg>
        <pc:spChg chg="del mod">
          <ac:chgData name="Kohli, Abhi SIEP-IUV/I/C" userId="8df466d3-0db6-41cc-b122-11a6f246ec8b" providerId="ADAL" clId="{6ADDF83B-BC1C-427E-B398-69A66A75FB58}" dt="2024-08-25T20:24:38.513" v="1975" actId="478"/>
          <ac:spMkLst>
            <pc:docMk/>
            <pc:sldMk cId="2513283331" sldId="307"/>
            <ac:spMk id="4" creationId="{D51A6D85-3837-435F-A342-5A3F98172B12}"/>
          </ac:spMkLst>
        </pc:spChg>
        <pc:spChg chg="add del mod modVis">
          <ac:chgData name="Kohli, Abhi SIEP-IUV/I/C" userId="8df466d3-0db6-41cc-b122-11a6f246ec8b" providerId="ADAL" clId="{6ADDF83B-BC1C-427E-B398-69A66A75FB58}" dt="2024-08-25T20:24:23.038" v="1848"/>
          <ac:spMkLst>
            <pc:docMk/>
            <pc:sldMk cId="2513283331" sldId="307"/>
            <ac:spMk id="6" creationId="{BAE8E1FC-C701-86A0-CAB7-BED81FAA291E}"/>
          </ac:spMkLst>
        </pc:spChg>
        <pc:spChg chg="add del mod modVis">
          <ac:chgData name="Kohli, Abhi SIEP-IUV/I/C" userId="8df466d3-0db6-41cc-b122-11a6f246ec8b" providerId="ADAL" clId="{6ADDF83B-BC1C-427E-B398-69A66A75FB58}" dt="2024-08-25T20:24:25.109" v="1883"/>
          <ac:spMkLst>
            <pc:docMk/>
            <pc:sldMk cId="2513283331" sldId="307"/>
            <ac:spMk id="7" creationId="{A2B0884B-87D9-D5D5-9C43-6C6BFD3C142B}"/>
          </ac:spMkLst>
        </pc:spChg>
        <pc:spChg chg="add del mod modVis">
          <ac:chgData name="Kohli, Abhi SIEP-IUV/I/C" userId="8df466d3-0db6-41cc-b122-11a6f246ec8b" providerId="ADAL" clId="{6ADDF83B-BC1C-427E-B398-69A66A75FB58}" dt="2024-08-25T20:24:31.342" v="1915"/>
          <ac:spMkLst>
            <pc:docMk/>
            <pc:sldMk cId="2513283331" sldId="307"/>
            <ac:spMk id="8" creationId="{E655A4F3-9E99-08A2-4CC5-E1805667C098}"/>
          </ac:spMkLst>
        </pc:spChg>
        <pc:spChg chg="add del mod modVis">
          <ac:chgData name="Kohli, Abhi SIEP-IUV/I/C" userId="8df466d3-0db6-41cc-b122-11a6f246ec8b" providerId="ADAL" clId="{6ADDF83B-BC1C-427E-B398-69A66A75FB58}" dt="2024-08-25T20:24:34.714" v="1944"/>
          <ac:spMkLst>
            <pc:docMk/>
            <pc:sldMk cId="2513283331" sldId="307"/>
            <ac:spMk id="9" creationId="{27816D83-1D4B-EE12-EBFC-6654A30D03B7}"/>
          </ac:spMkLst>
        </pc:spChg>
        <pc:spChg chg="add del mod modVis">
          <ac:chgData name="Kohli, Abhi SIEP-IUV/I/C" userId="8df466d3-0db6-41cc-b122-11a6f246ec8b" providerId="ADAL" clId="{6ADDF83B-BC1C-427E-B398-69A66A75FB58}" dt="2024-08-25T20:24:36.677" v="1972"/>
          <ac:spMkLst>
            <pc:docMk/>
            <pc:sldMk cId="2513283331" sldId="307"/>
            <ac:spMk id="10" creationId="{530E8DB5-588C-C72E-25B7-D69FAD53DD5B}"/>
          </ac:spMkLst>
        </pc:spChg>
        <pc:spChg chg="add del mod modVis">
          <ac:chgData name="Kohli, Abhi SIEP-IUV/I/C" userId="8df466d3-0db6-41cc-b122-11a6f246ec8b" providerId="ADAL" clId="{6ADDF83B-BC1C-427E-B398-69A66A75FB58}" dt="2024-08-25T20:24:41.810" v="2001"/>
          <ac:spMkLst>
            <pc:docMk/>
            <pc:sldMk cId="2513283331" sldId="307"/>
            <ac:spMk id="11" creationId="{138FD25A-A511-2671-B4FA-927EDDC4E25A}"/>
          </ac:spMkLst>
        </pc:spChg>
        <pc:graphicFrameChg chg="mod">
          <ac:chgData name="Kohli, Abhi SIEP-IUV/I/C" userId="8df466d3-0db6-41cc-b122-11a6f246ec8b" providerId="ADAL" clId="{6ADDF83B-BC1C-427E-B398-69A66A75FB58}" dt="2024-08-25T20:24:41.810" v="2003"/>
          <ac:graphicFrameMkLst>
            <pc:docMk/>
            <pc:sldMk cId="2513283331" sldId="307"/>
            <ac:graphicFrameMk id="5" creationId="{790AF8D5-F2AF-E397-CC8F-A553BC3EE61D}"/>
          </ac:graphicFrameMkLst>
        </pc:graphicFrameChg>
      </pc:sldChg>
      <pc:sldChg chg="addSp delSp modSp del mod modClrScheme chgLayout">
        <pc:chgData name="Kohli, Abhi SIEP-IUV/I/C" userId="8df466d3-0db6-41cc-b122-11a6f246ec8b" providerId="ADAL" clId="{6ADDF83B-BC1C-427E-B398-69A66A75FB58}" dt="2024-08-26T20:56:02.769" v="3072" actId="2696"/>
        <pc:sldMkLst>
          <pc:docMk/>
          <pc:sldMk cId="1871366832" sldId="308"/>
        </pc:sldMkLst>
        <pc:spChg chg="add del mod ord">
          <ac:chgData name="Kohli, Abhi SIEP-IUV/I/C" userId="8df466d3-0db6-41cc-b122-11a6f246ec8b" providerId="ADAL" clId="{6ADDF83B-BC1C-427E-B398-69A66A75FB58}" dt="2024-08-25T20:25:23.958" v="2009" actId="478"/>
          <ac:spMkLst>
            <pc:docMk/>
            <pc:sldMk cId="1871366832" sldId="308"/>
            <ac:spMk id="2" creationId="{90F7483E-69DB-400D-4536-6086D90B58FB}"/>
          </ac:spMkLst>
        </pc:spChg>
        <pc:spChg chg="add del mod ord">
          <ac:chgData name="Kohli, Abhi SIEP-IUV/I/C" userId="8df466d3-0db6-41cc-b122-11a6f246ec8b" providerId="ADAL" clId="{6ADDF83B-BC1C-427E-B398-69A66A75FB58}" dt="2024-08-25T20:25:29.333" v="2027" actId="478"/>
          <ac:spMkLst>
            <pc:docMk/>
            <pc:sldMk cId="1871366832" sldId="308"/>
            <ac:spMk id="3" creationId="{92437575-0204-CB9C-6DF2-E30E4BDE086B}"/>
          </ac:spMkLst>
        </pc:spChg>
        <pc:spChg chg="del mod">
          <ac:chgData name="Kohli, Abhi SIEP-IUV/I/C" userId="8df466d3-0db6-41cc-b122-11a6f246ec8b" providerId="ADAL" clId="{6ADDF83B-BC1C-427E-B398-69A66A75FB58}" dt="2024-08-25T20:25:37.384" v="2033" actId="478"/>
          <ac:spMkLst>
            <pc:docMk/>
            <pc:sldMk cId="1871366832" sldId="308"/>
            <ac:spMk id="6" creationId="{1DC706F7-0311-9468-BF9A-1767E14C9BE4}"/>
          </ac:spMkLst>
        </pc:spChg>
        <pc:spChg chg="mod">
          <ac:chgData name="Kohli, Abhi SIEP-IUV/I/C" userId="8df466d3-0db6-41cc-b122-11a6f246ec8b" providerId="ADAL" clId="{6ADDF83B-BC1C-427E-B398-69A66A75FB58}" dt="2024-08-25T20:25:51.273" v="2039" actId="404"/>
          <ac:spMkLst>
            <pc:docMk/>
            <pc:sldMk cId="1871366832" sldId="308"/>
            <ac:spMk id="7" creationId="{2B52037B-4478-0EBF-1BC0-157300E6FFFF}"/>
          </ac:spMkLst>
        </pc:spChg>
        <pc:spChg chg="add del mod ord">
          <ac:chgData name="Kohli, Abhi SIEP-IUV/I/C" userId="8df466d3-0db6-41cc-b122-11a6f246ec8b" providerId="ADAL" clId="{6ADDF83B-BC1C-427E-B398-69A66A75FB58}" dt="2024-08-25T20:26:15.806" v="2044" actId="478"/>
          <ac:spMkLst>
            <pc:docMk/>
            <pc:sldMk cId="1871366832" sldId="308"/>
            <ac:spMk id="8" creationId="{03E3AADA-6EB9-A873-E38C-7B592F28D41D}"/>
          </ac:spMkLst>
        </pc:spChg>
        <pc:spChg chg="add del mod ord">
          <ac:chgData name="Kohli, Abhi SIEP-IUV/I/C" userId="8df466d3-0db6-41cc-b122-11a6f246ec8b" providerId="ADAL" clId="{6ADDF83B-BC1C-427E-B398-69A66A75FB58}" dt="2024-08-25T20:26:13.462" v="2043" actId="478"/>
          <ac:spMkLst>
            <pc:docMk/>
            <pc:sldMk cId="1871366832" sldId="308"/>
            <ac:spMk id="10" creationId="{60DD3E2D-67DC-7D4E-3E2A-24D542D50F6D}"/>
          </ac:spMkLst>
        </pc:spChg>
        <pc:graphicFrameChg chg="add mod ord modVis replST">
          <ac:chgData name="Kohli, Abhi SIEP-IUV/I/C" userId="8df466d3-0db6-41cc-b122-11a6f246ec8b" providerId="ADAL" clId="{6ADDF83B-BC1C-427E-B398-69A66A75FB58}" dt="2024-08-25T20:26:16.323" v="2048"/>
          <ac:graphicFrameMkLst>
            <pc:docMk/>
            <pc:sldMk cId="1871366832" sldId="308"/>
            <ac:graphicFrameMk id="4" creationId="{AC9BCE5C-B36A-9861-8902-67C200A133DA}"/>
          </ac:graphicFrameMkLst>
        </pc:graphicFrameChg>
        <pc:graphicFrameChg chg="mod modGraphic">
          <ac:chgData name="Kohli, Abhi SIEP-IUV/I/C" userId="8df466d3-0db6-41cc-b122-11a6f246ec8b" providerId="ADAL" clId="{6ADDF83B-BC1C-427E-B398-69A66A75FB58}" dt="2024-08-25T20:28:01.641" v="2074"/>
          <ac:graphicFrameMkLst>
            <pc:docMk/>
            <pc:sldMk cId="1871366832" sldId="308"/>
            <ac:graphicFrameMk id="9" creationId="{19694FC7-10DA-E763-74C0-B58C2B7E2BF8}"/>
          </ac:graphicFrameMkLst>
        </pc:graphicFrameChg>
        <pc:picChg chg="mod">
          <ac:chgData name="Kohli, Abhi SIEP-IUV/I/C" userId="8df466d3-0db6-41cc-b122-11a6f246ec8b" providerId="ADAL" clId="{6ADDF83B-BC1C-427E-B398-69A66A75FB58}" dt="2024-08-25T21:05:42.256" v="2818" actId="1076"/>
          <ac:picMkLst>
            <pc:docMk/>
            <pc:sldMk cId="1871366832" sldId="308"/>
            <ac:picMk id="5" creationId="{3E8A5AD2-1B8C-3221-F092-0025EE07FC5C}"/>
          </ac:picMkLst>
        </pc:picChg>
      </pc:sldChg>
      <pc:sldChg chg="modSp mod ord">
        <pc:chgData name="Kohli, Abhi SIEP-IUV/I/C" userId="8df466d3-0db6-41cc-b122-11a6f246ec8b" providerId="ADAL" clId="{6ADDF83B-BC1C-427E-B398-69A66A75FB58}" dt="2024-08-26T22:43:55.605" v="3394" actId="1076"/>
        <pc:sldMkLst>
          <pc:docMk/>
          <pc:sldMk cId="1141035810" sldId="309"/>
        </pc:sldMkLst>
        <pc:spChg chg="mod">
          <ac:chgData name="Kohli, Abhi SIEP-IUV/I/C" userId="8df466d3-0db6-41cc-b122-11a6f246ec8b" providerId="ADAL" clId="{6ADDF83B-BC1C-427E-B398-69A66A75FB58}" dt="2024-08-26T22:00:19.913" v="3087" actId="404"/>
          <ac:spMkLst>
            <pc:docMk/>
            <pc:sldMk cId="1141035810" sldId="309"/>
            <ac:spMk id="13" creationId="{C434B94E-A91D-4527-A0B7-9A44C1615A19}"/>
          </ac:spMkLst>
        </pc:spChg>
        <pc:spChg chg="mod">
          <ac:chgData name="Kohli, Abhi SIEP-IUV/I/C" userId="8df466d3-0db6-41cc-b122-11a6f246ec8b" providerId="ADAL" clId="{6ADDF83B-BC1C-427E-B398-69A66A75FB58}" dt="2024-08-26T22:43:53.620" v="3393" actId="1076"/>
          <ac:spMkLst>
            <pc:docMk/>
            <pc:sldMk cId="1141035810" sldId="309"/>
            <ac:spMk id="20" creationId="{BDD0DD0A-09EE-17D6-8F43-4ABB6265A360}"/>
          </ac:spMkLst>
        </pc:spChg>
        <pc:picChg chg="mod">
          <ac:chgData name="Kohli, Abhi SIEP-IUV/I/C" userId="8df466d3-0db6-41cc-b122-11a6f246ec8b" providerId="ADAL" clId="{6ADDF83B-BC1C-427E-B398-69A66A75FB58}" dt="2024-08-26T22:43:55.605" v="3394" actId="1076"/>
          <ac:picMkLst>
            <pc:docMk/>
            <pc:sldMk cId="1141035810" sldId="309"/>
            <ac:picMk id="18" creationId="{FB7CADED-1BD5-F94E-254A-9B131EF3E851}"/>
          </ac:picMkLst>
        </pc:picChg>
      </pc:sldChg>
      <pc:sldChg chg="del">
        <pc:chgData name="Kohli, Abhi SIEP-IUV/I/C" userId="8df466d3-0db6-41cc-b122-11a6f246ec8b" providerId="ADAL" clId="{6ADDF83B-BC1C-427E-B398-69A66A75FB58}" dt="2024-08-26T20:54:13.124" v="3062" actId="2696"/>
        <pc:sldMkLst>
          <pc:docMk/>
          <pc:sldMk cId="3549601665" sldId="309"/>
        </pc:sldMkLst>
      </pc:sldChg>
      <pc:sldChg chg="modSp mod">
        <pc:chgData name="Kohli, Abhi SIEP-IUV/I/C" userId="8df466d3-0db6-41cc-b122-11a6f246ec8b" providerId="ADAL" clId="{6ADDF83B-BC1C-427E-B398-69A66A75FB58}" dt="2024-08-26T22:01:42.796" v="3100" actId="20577"/>
        <pc:sldMkLst>
          <pc:docMk/>
          <pc:sldMk cId="360578567" sldId="311"/>
        </pc:sldMkLst>
        <pc:spChg chg="mod">
          <ac:chgData name="Kohli, Abhi SIEP-IUV/I/C" userId="8df466d3-0db6-41cc-b122-11a6f246ec8b" providerId="ADAL" clId="{6ADDF83B-BC1C-427E-B398-69A66A75FB58}" dt="2024-08-26T22:01:42.796" v="3100" actId="20577"/>
          <ac:spMkLst>
            <pc:docMk/>
            <pc:sldMk cId="360578567" sldId="311"/>
            <ac:spMk id="15" creationId="{940F8C5B-DCA3-34D7-A9BB-4EAC96CF8AF4}"/>
          </ac:spMkLst>
        </pc:spChg>
      </pc:sldChg>
      <pc:sldChg chg="addSp delSp modSp mod ord">
        <pc:chgData name="Kohli, Abhi SIEP-IUV/I/C" userId="8df466d3-0db6-41cc-b122-11a6f246ec8b" providerId="ADAL" clId="{6ADDF83B-BC1C-427E-B398-69A66A75FB58}" dt="2024-08-28T19:24:37.051" v="4740" actId="21"/>
        <pc:sldMkLst>
          <pc:docMk/>
          <pc:sldMk cId="428778489" sldId="314"/>
        </pc:sldMkLst>
        <pc:spChg chg="mod">
          <ac:chgData name="Kohli, Abhi SIEP-IUV/I/C" userId="8df466d3-0db6-41cc-b122-11a6f246ec8b" providerId="ADAL" clId="{6ADDF83B-BC1C-427E-B398-69A66A75FB58}" dt="2024-08-28T19:18:35.995" v="4696" actId="948"/>
          <ac:spMkLst>
            <pc:docMk/>
            <pc:sldMk cId="428778489" sldId="314"/>
            <ac:spMk id="2" creationId="{8460295B-54B9-4937-90E3-BAB9CE69E30B}"/>
          </ac:spMkLst>
        </pc:spChg>
        <pc:spChg chg="add del mod modVis">
          <ac:chgData name="Kohli, Abhi SIEP-IUV/I/C" userId="8df466d3-0db6-41cc-b122-11a6f246ec8b" providerId="ADAL" clId="{6ADDF83B-BC1C-427E-B398-69A66A75FB58}" dt="2024-08-27T20:59:39.791" v="4217"/>
          <ac:spMkLst>
            <pc:docMk/>
            <pc:sldMk cId="428778489" sldId="314"/>
            <ac:spMk id="3" creationId="{F824E88B-2ADD-D4D4-2BCE-EBFFC39F4888}"/>
          </ac:spMkLst>
        </pc:spChg>
        <pc:spChg chg="add del mod modVis">
          <ac:chgData name="Kohli, Abhi SIEP-IUV/I/C" userId="8df466d3-0db6-41cc-b122-11a6f246ec8b" providerId="ADAL" clId="{6ADDF83B-BC1C-427E-B398-69A66A75FB58}" dt="2024-08-28T19:18:33.051" v="4658"/>
          <ac:spMkLst>
            <pc:docMk/>
            <pc:sldMk cId="428778489" sldId="314"/>
            <ac:spMk id="3" creationId="{FB4DF3C4-0DB7-DDC5-8716-AE79121FF203}"/>
          </ac:spMkLst>
        </pc:spChg>
        <pc:spChg chg="mod">
          <ac:chgData name="Kohli, Abhi SIEP-IUV/I/C" userId="8df466d3-0db6-41cc-b122-11a6f246ec8b" providerId="ADAL" clId="{6ADDF83B-BC1C-427E-B398-69A66A75FB58}" dt="2024-08-27T20:59:54.521" v="4375" actId="1076"/>
          <ac:spMkLst>
            <pc:docMk/>
            <pc:sldMk cId="428778489" sldId="314"/>
            <ac:spMk id="4" creationId="{D51A6D85-3837-435F-A342-5A3F98172B12}"/>
          </ac:spMkLst>
        </pc:spChg>
        <pc:spChg chg="add del mod modVis">
          <ac:chgData name="Kohli, Abhi SIEP-IUV/I/C" userId="8df466d3-0db6-41cc-b122-11a6f246ec8b" providerId="ADAL" clId="{6ADDF83B-BC1C-427E-B398-69A66A75FB58}" dt="2024-08-27T20:59:41.871" v="4245"/>
          <ac:spMkLst>
            <pc:docMk/>
            <pc:sldMk cId="428778489" sldId="314"/>
            <ac:spMk id="6" creationId="{1871E04C-22B2-298F-90B6-B31B4E91B4EF}"/>
          </ac:spMkLst>
        </pc:spChg>
        <pc:spChg chg="add del mod modVis">
          <ac:chgData name="Kohli, Abhi SIEP-IUV/I/C" userId="8df466d3-0db6-41cc-b122-11a6f246ec8b" providerId="ADAL" clId="{6ADDF83B-BC1C-427E-B398-69A66A75FB58}" dt="2024-08-28T19:18:35.260" v="4690"/>
          <ac:spMkLst>
            <pc:docMk/>
            <pc:sldMk cId="428778489" sldId="314"/>
            <ac:spMk id="6" creationId="{4F197886-1D13-3A28-B080-1D829A4433A9}"/>
          </ac:spMkLst>
        </pc:spChg>
        <pc:spChg chg="add del mod modVis">
          <ac:chgData name="Kohli, Abhi SIEP-IUV/I/C" userId="8df466d3-0db6-41cc-b122-11a6f246ec8b" providerId="ADAL" clId="{6ADDF83B-BC1C-427E-B398-69A66A75FB58}" dt="2024-08-27T20:59:45.995" v="4288"/>
          <ac:spMkLst>
            <pc:docMk/>
            <pc:sldMk cId="428778489" sldId="314"/>
            <ac:spMk id="7" creationId="{74A89B53-B7AC-07DE-8310-2C69C609AE21}"/>
          </ac:spMkLst>
        </pc:spChg>
        <pc:spChg chg="add del mod modVis">
          <ac:chgData name="Kohli, Abhi SIEP-IUV/I/C" userId="8df466d3-0db6-41cc-b122-11a6f246ec8b" providerId="ADAL" clId="{6ADDF83B-BC1C-427E-B398-69A66A75FB58}" dt="2024-08-28T19:18:36.037" v="4720"/>
          <ac:spMkLst>
            <pc:docMk/>
            <pc:sldMk cId="428778489" sldId="314"/>
            <ac:spMk id="7" creationId="{B9F07B2C-BF76-C9E5-8878-156D5DF14CE0}"/>
          </ac:spMkLst>
        </pc:spChg>
        <pc:spChg chg="add del mod modVis">
          <ac:chgData name="Kohli, Abhi SIEP-IUV/I/C" userId="8df466d3-0db6-41cc-b122-11a6f246ec8b" providerId="ADAL" clId="{6ADDF83B-BC1C-427E-B398-69A66A75FB58}" dt="2024-08-27T20:59:48.901" v="4316"/>
          <ac:spMkLst>
            <pc:docMk/>
            <pc:sldMk cId="428778489" sldId="314"/>
            <ac:spMk id="8" creationId="{665658AD-32BB-C401-BCA2-7832F7384F7F}"/>
          </ac:spMkLst>
        </pc:spChg>
        <pc:spChg chg="add del mod modVis">
          <ac:chgData name="Kohli, Abhi SIEP-IUV/I/C" userId="8df466d3-0db6-41cc-b122-11a6f246ec8b" providerId="ADAL" clId="{6ADDF83B-BC1C-427E-B398-69A66A75FB58}" dt="2024-08-27T20:59:50.502" v="4344"/>
          <ac:spMkLst>
            <pc:docMk/>
            <pc:sldMk cId="428778489" sldId="314"/>
            <ac:spMk id="9" creationId="{5C49D772-EDDA-B45C-B9CB-52F008EC5029}"/>
          </ac:spMkLst>
        </pc:spChg>
        <pc:spChg chg="add del mod modVis">
          <ac:chgData name="Kohli, Abhi SIEP-IUV/I/C" userId="8df466d3-0db6-41cc-b122-11a6f246ec8b" providerId="ADAL" clId="{6ADDF83B-BC1C-427E-B398-69A66A75FB58}" dt="2024-08-27T20:59:53.046" v="4372"/>
          <ac:spMkLst>
            <pc:docMk/>
            <pc:sldMk cId="428778489" sldId="314"/>
            <ac:spMk id="10" creationId="{BA643F64-E585-CA30-A8B4-CEB4BE91FA38}"/>
          </ac:spMkLst>
        </pc:spChg>
        <pc:graphicFrameChg chg="mod">
          <ac:chgData name="Kohli, Abhi SIEP-IUV/I/C" userId="8df466d3-0db6-41cc-b122-11a6f246ec8b" providerId="ADAL" clId="{6ADDF83B-BC1C-427E-B398-69A66A75FB58}" dt="2024-08-28T19:18:36.044" v="4722"/>
          <ac:graphicFrameMkLst>
            <pc:docMk/>
            <pc:sldMk cId="428778489" sldId="314"/>
            <ac:graphicFrameMk id="5" creationId="{790AF8D5-F2AF-E397-CC8F-A553BC3EE61D}"/>
          </ac:graphicFrameMkLst>
        </pc:graphicFrameChg>
        <pc:picChg chg="add del mod">
          <ac:chgData name="Kohli, Abhi SIEP-IUV/I/C" userId="8df466d3-0db6-41cc-b122-11a6f246ec8b" providerId="ADAL" clId="{6ADDF83B-BC1C-427E-B398-69A66A75FB58}" dt="2024-08-28T19:24:03.286" v="4731" actId="21"/>
          <ac:picMkLst>
            <pc:docMk/>
            <pc:sldMk cId="428778489" sldId="314"/>
            <ac:picMk id="9" creationId="{703AC830-5A89-DA8D-811B-6D210DF7DFD4}"/>
          </ac:picMkLst>
        </pc:picChg>
        <pc:picChg chg="add del mod">
          <ac:chgData name="Kohli, Abhi SIEP-IUV/I/C" userId="8df466d3-0db6-41cc-b122-11a6f246ec8b" providerId="ADAL" clId="{6ADDF83B-BC1C-427E-B398-69A66A75FB58}" dt="2024-08-28T19:24:37.051" v="4740" actId="21"/>
          <ac:picMkLst>
            <pc:docMk/>
            <pc:sldMk cId="428778489" sldId="314"/>
            <ac:picMk id="10" creationId="{A2E33C80-08F6-F9D9-7AB2-396769EE4F43}"/>
          </ac:picMkLst>
        </pc:picChg>
      </pc:sldChg>
      <pc:sldChg chg="addSp delSp modSp mod">
        <pc:chgData name="Kohli, Abhi SIEP-IUV/I/C" userId="8df466d3-0db6-41cc-b122-11a6f246ec8b" providerId="ADAL" clId="{6ADDF83B-BC1C-427E-B398-69A66A75FB58}" dt="2024-08-29T03:11:12.857" v="5961" actId="1076"/>
        <pc:sldMkLst>
          <pc:docMk/>
          <pc:sldMk cId="1886994896" sldId="315"/>
        </pc:sldMkLst>
        <pc:spChg chg="mod">
          <ac:chgData name="Kohli, Abhi SIEP-IUV/I/C" userId="8df466d3-0db6-41cc-b122-11a6f246ec8b" providerId="ADAL" clId="{6ADDF83B-BC1C-427E-B398-69A66A75FB58}" dt="2024-08-28T19:11:04.920" v="4522" actId="948"/>
          <ac:spMkLst>
            <pc:docMk/>
            <pc:sldMk cId="1886994896" sldId="315"/>
            <ac:spMk id="2" creationId="{2A975C8E-D448-423E-AD2B-75C61E8F046F}"/>
          </ac:spMkLst>
        </pc:spChg>
        <pc:spChg chg="mod">
          <ac:chgData name="Kohli, Abhi SIEP-IUV/I/C" userId="8df466d3-0db6-41cc-b122-11a6f246ec8b" providerId="ADAL" clId="{6ADDF83B-BC1C-427E-B398-69A66A75FB58}" dt="2024-08-29T03:11:12.857" v="5961" actId="1076"/>
          <ac:spMkLst>
            <pc:docMk/>
            <pc:sldMk cId="1886994896" sldId="315"/>
            <ac:spMk id="3" creationId="{8A0C2F31-49BF-4EAE-86D6-272FEC5CE3E3}"/>
          </ac:spMkLst>
        </pc:spChg>
        <pc:spChg chg="add del mod modVis">
          <ac:chgData name="Kohli, Abhi SIEP-IUV/I/C" userId="8df466d3-0db6-41cc-b122-11a6f246ec8b" providerId="ADAL" clId="{6ADDF83B-BC1C-427E-B398-69A66A75FB58}" dt="2024-08-28T19:11:02.321" v="4477"/>
          <ac:spMkLst>
            <pc:docMk/>
            <pc:sldMk cId="1886994896" sldId="315"/>
            <ac:spMk id="9" creationId="{17CCD614-E768-1679-4F6C-F631E614690E}"/>
          </ac:spMkLst>
        </pc:spChg>
        <pc:spChg chg="add del mod modVis">
          <ac:chgData name="Kohli, Abhi SIEP-IUV/I/C" userId="8df466d3-0db6-41cc-b122-11a6f246ec8b" providerId="ADAL" clId="{6ADDF83B-BC1C-427E-B398-69A66A75FB58}" dt="2024-08-28T19:11:03.779" v="4518"/>
          <ac:spMkLst>
            <pc:docMk/>
            <pc:sldMk cId="1886994896" sldId="315"/>
            <ac:spMk id="11" creationId="{78D31FAA-3490-3C28-C018-16BA5B7B56D1}"/>
          </ac:spMkLst>
        </pc:spChg>
        <pc:spChg chg="add del mod modVis">
          <ac:chgData name="Kohli, Abhi SIEP-IUV/I/C" userId="8df466d3-0db6-41cc-b122-11a6f246ec8b" providerId="ADAL" clId="{6ADDF83B-BC1C-427E-B398-69A66A75FB58}" dt="2024-08-28T19:11:04.954" v="4546"/>
          <ac:spMkLst>
            <pc:docMk/>
            <pc:sldMk cId="1886994896" sldId="315"/>
            <ac:spMk id="14" creationId="{B53D9506-D0C2-E70F-7C91-F6A4025D19ED}"/>
          </ac:spMkLst>
        </pc:spChg>
        <pc:graphicFrameChg chg="add mod ord modVis replST">
          <ac:chgData name="Kohli, Abhi SIEP-IUV/I/C" userId="8df466d3-0db6-41cc-b122-11a6f246ec8b" providerId="ADAL" clId="{6ADDF83B-BC1C-427E-B398-69A66A75FB58}" dt="2024-08-28T19:11:04.960" v="4548"/>
          <ac:graphicFrameMkLst>
            <pc:docMk/>
            <pc:sldMk cId="1886994896" sldId="315"/>
            <ac:graphicFrameMk id="10" creationId="{7241D438-D923-7BCD-0978-35D73C6245E3}"/>
          </ac:graphicFrameMkLst>
        </pc:graphicFrameChg>
      </pc:sldChg>
      <pc:sldChg chg="addSp delSp modSp mod ord">
        <pc:chgData name="Kohli, Abhi SIEP-IUV/I/C" userId="8df466d3-0db6-41cc-b122-11a6f246ec8b" providerId="ADAL" clId="{6ADDF83B-BC1C-427E-B398-69A66A75FB58}" dt="2024-08-29T03:10:27.519" v="5960" actId="14734"/>
        <pc:sldMkLst>
          <pc:docMk/>
          <pc:sldMk cId="2719515279" sldId="316"/>
        </pc:sldMkLst>
        <pc:spChg chg="add del mod modVis">
          <ac:chgData name="Kohli, Abhi SIEP-IUV/I/C" userId="8df466d3-0db6-41cc-b122-11a6f246ec8b" providerId="ADAL" clId="{6ADDF83B-BC1C-427E-B398-69A66A75FB58}" dt="2024-08-29T03:02:00.579" v="5461"/>
          <ac:spMkLst>
            <pc:docMk/>
            <pc:sldMk cId="2719515279" sldId="316"/>
            <ac:spMk id="2" creationId="{B27F3E48-FFAD-DC62-F7F6-AF1547F61E48}"/>
          </ac:spMkLst>
        </pc:spChg>
        <pc:spChg chg="add del mod modVis">
          <ac:chgData name="Kohli, Abhi SIEP-IUV/I/C" userId="8df466d3-0db6-41cc-b122-11a6f246ec8b" providerId="ADAL" clId="{6ADDF83B-BC1C-427E-B398-69A66A75FB58}" dt="2024-08-29T03:02:06.723" v="5505"/>
          <ac:spMkLst>
            <pc:docMk/>
            <pc:sldMk cId="2719515279" sldId="316"/>
            <ac:spMk id="4" creationId="{FA78BC1B-4EF4-5BDF-5DF8-D7D306DAA56A}"/>
          </ac:spMkLst>
        </pc:spChg>
        <pc:spChg chg="add del mod modVis">
          <ac:chgData name="Kohli, Abhi SIEP-IUV/I/C" userId="8df466d3-0db6-41cc-b122-11a6f246ec8b" providerId="ADAL" clId="{6ADDF83B-BC1C-427E-B398-69A66A75FB58}" dt="2024-08-29T03:02:17.234" v="5535"/>
          <ac:spMkLst>
            <pc:docMk/>
            <pc:sldMk cId="2719515279" sldId="316"/>
            <ac:spMk id="5" creationId="{3272CE19-60EA-0776-147A-A33D6A52ADF7}"/>
          </ac:spMkLst>
        </pc:spChg>
        <pc:spChg chg="add del mod modVis">
          <ac:chgData name="Kohli, Abhi SIEP-IUV/I/C" userId="8df466d3-0db6-41cc-b122-11a6f246ec8b" providerId="ADAL" clId="{6ADDF83B-BC1C-427E-B398-69A66A75FB58}" dt="2024-08-29T03:02:20.148" v="5570"/>
          <ac:spMkLst>
            <pc:docMk/>
            <pc:sldMk cId="2719515279" sldId="316"/>
            <ac:spMk id="6" creationId="{D39F16AD-5FDF-F127-F42B-FF07E6DF279C}"/>
          </ac:spMkLst>
        </pc:spChg>
        <pc:spChg chg="add del mod modVis">
          <ac:chgData name="Kohli, Abhi SIEP-IUV/I/C" userId="8df466d3-0db6-41cc-b122-11a6f246ec8b" providerId="ADAL" clId="{6ADDF83B-BC1C-427E-B398-69A66A75FB58}" dt="2024-08-29T03:02:20.737" v="5600"/>
          <ac:spMkLst>
            <pc:docMk/>
            <pc:sldMk cId="2719515279" sldId="316"/>
            <ac:spMk id="7" creationId="{5A3D1AFA-44BA-BC41-7839-2C6460ECCAAE}"/>
          </ac:spMkLst>
        </pc:spChg>
        <pc:spChg chg="add del mod modVis">
          <ac:chgData name="Kohli, Abhi SIEP-IUV/I/C" userId="8df466d3-0db6-41cc-b122-11a6f246ec8b" providerId="ADAL" clId="{6ADDF83B-BC1C-427E-B398-69A66A75FB58}" dt="2024-08-29T03:02:22.450" v="5640"/>
          <ac:spMkLst>
            <pc:docMk/>
            <pc:sldMk cId="2719515279" sldId="316"/>
            <ac:spMk id="8" creationId="{B2AB7CC2-CE3F-2EE9-91A7-6837B5B484A4}"/>
          </ac:spMkLst>
        </pc:spChg>
        <pc:spChg chg="mod">
          <ac:chgData name="Kohli, Abhi SIEP-IUV/I/C" userId="8df466d3-0db6-41cc-b122-11a6f246ec8b" providerId="ADAL" clId="{6ADDF83B-BC1C-427E-B398-69A66A75FB58}" dt="2024-08-29T03:04:35.223" v="5742" actId="948"/>
          <ac:spMkLst>
            <pc:docMk/>
            <pc:sldMk cId="2719515279" sldId="316"/>
            <ac:spMk id="11" creationId="{E7C2766E-62DF-A778-52AA-BE51F0E39D5E}"/>
          </ac:spMkLst>
        </pc:spChg>
        <pc:spChg chg="add del mod modVis">
          <ac:chgData name="Kohli, Abhi SIEP-IUV/I/C" userId="8df466d3-0db6-41cc-b122-11a6f246ec8b" providerId="ADAL" clId="{6ADDF83B-BC1C-427E-B398-69A66A75FB58}" dt="2024-08-29T03:02:23.454" v="5669"/>
          <ac:spMkLst>
            <pc:docMk/>
            <pc:sldMk cId="2719515279" sldId="316"/>
            <ac:spMk id="12" creationId="{15A3A32B-CBB6-34E4-F5AB-52D09CF9A66A}"/>
          </ac:spMkLst>
        </pc:spChg>
        <pc:spChg chg="add del mod modVis">
          <ac:chgData name="Kohli, Abhi SIEP-IUV/I/C" userId="8df466d3-0db6-41cc-b122-11a6f246ec8b" providerId="ADAL" clId="{6ADDF83B-BC1C-427E-B398-69A66A75FB58}" dt="2024-08-29T03:02:24.665" v="5698"/>
          <ac:spMkLst>
            <pc:docMk/>
            <pc:sldMk cId="2719515279" sldId="316"/>
            <ac:spMk id="13" creationId="{42697D6F-D599-18F0-6ED7-63D80B2FFA28}"/>
          </ac:spMkLst>
        </pc:spChg>
        <pc:spChg chg="add del mod modVis">
          <ac:chgData name="Kohli, Abhi SIEP-IUV/I/C" userId="8df466d3-0db6-41cc-b122-11a6f246ec8b" providerId="ADAL" clId="{6ADDF83B-BC1C-427E-B398-69A66A75FB58}" dt="2024-08-29T03:02:26.956" v="5726"/>
          <ac:spMkLst>
            <pc:docMk/>
            <pc:sldMk cId="2719515279" sldId="316"/>
            <ac:spMk id="14" creationId="{BAA1AC6A-2AF1-1F3E-C150-1C320178E0D0}"/>
          </ac:spMkLst>
        </pc:spChg>
        <pc:spChg chg="add del mod modVis">
          <ac:chgData name="Kohli, Abhi SIEP-IUV/I/C" userId="8df466d3-0db6-41cc-b122-11a6f246ec8b" providerId="ADAL" clId="{6ADDF83B-BC1C-427E-B398-69A66A75FB58}" dt="2024-08-29T03:04:35.280" v="5766"/>
          <ac:spMkLst>
            <pc:docMk/>
            <pc:sldMk cId="2719515279" sldId="316"/>
            <ac:spMk id="20" creationId="{A8928D33-1E64-A848-9DFB-F2EF7006D61C}"/>
          </ac:spMkLst>
        </pc:spChg>
        <pc:graphicFrameChg chg="mod modGraphic">
          <ac:chgData name="Kohli, Abhi SIEP-IUV/I/C" userId="8df466d3-0db6-41cc-b122-11a6f246ec8b" providerId="ADAL" clId="{6ADDF83B-BC1C-427E-B398-69A66A75FB58}" dt="2024-08-29T03:10:27.519" v="5960" actId="14734"/>
          <ac:graphicFrameMkLst>
            <pc:docMk/>
            <pc:sldMk cId="2719515279" sldId="316"/>
            <ac:graphicFrameMk id="9" creationId="{19694FC7-10DA-E763-74C0-B58C2B7E2BF8}"/>
          </ac:graphicFrameMkLst>
        </pc:graphicFrameChg>
        <pc:graphicFrameChg chg="mod">
          <ac:chgData name="Kohli, Abhi SIEP-IUV/I/C" userId="8df466d3-0db6-41cc-b122-11a6f246ec8b" providerId="ADAL" clId="{6ADDF83B-BC1C-427E-B398-69A66A75FB58}" dt="2024-08-29T03:04:35.287" v="5768"/>
          <ac:graphicFrameMkLst>
            <pc:docMk/>
            <pc:sldMk cId="2719515279" sldId="316"/>
            <ac:graphicFrameMk id="10" creationId="{A96F1BA0-76C1-CFE9-57B1-8175E915F703}"/>
          </ac:graphicFrameMkLst>
        </pc:graphicFrameChg>
        <pc:picChg chg="del">
          <ac:chgData name="Kohli, Abhi SIEP-IUV/I/C" userId="8df466d3-0db6-41cc-b122-11a6f246ec8b" providerId="ADAL" clId="{6ADDF83B-BC1C-427E-B398-69A66A75FB58}" dt="2024-08-29T03:03:00.173" v="5729" actId="478"/>
          <ac:picMkLst>
            <pc:docMk/>
            <pc:sldMk cId="2719515279" sldId="316"/>
            <ac:picMk id="3" creationId="{DEFD93ED-AF58-06D3-B71F-EFD0DA3348F9}"/>
          </ac:picMkLst>
        </pc:picChg>
        <pc:picChg chg="add mod">
          <ac:chgData name="Kohli, Abhi SIEP-IUV/I/C" userId="8df466d3-0db6-41cc-b122-11a6f246ec8b" providerId="ADAL" clId="{6ADDF83B-BC1C-427E-B398-69A66A75FB58}" dt="2024-08-29T03:08:53.607" v="5923" actId="1076"/>
          <ac:picMkLst>
            <pc:docMk/>
            <pc:sldMk cId="2719515279" sldId="316"/>
            <ac:picMk id="16" creationId="{8FBF75BD-212F-1317-3097-F734D5779D69}"/>
          </ac:picMkLst>
        </pc:picChg>
        <pc:picChg chg="add del mod">
          <ac:chgData name="Kohli, Abhi SIEP-IUV/I/C" userId="8df466d3-0db6-41cc-b122-11a6f246ec8b" providerId="ADAL" clId="{6ADDF83B-BC1C-427E-B398-69A66A75FB58}" dt="2024-08-29T03:09:01.726" v="5926" actId="478"/>
          <ac:picMkLst>
            <pc:docMk/>
            <pc:sldMk cId="2719515279" sldId="316"/>
            <ac:picMk id="18" creationId="{1DBCC12F-0CB7-E5AB-144B-C7C6E8432DF7}"/>
          </ac:picMkLst>
        </pc:picChg>
        <pc:picChg chg="del">
          <ac:chgData name="Kohli, Abhi SIEP-IUV/I/C" userId="8df466d3-0db6-41cc-b122-11a6f246ec8b" providerId="ADAL" clId="{6ADDF83B-BC1C-427E-B398-69A66A75FB58}" dt="2024-08-29T03:04:21.182" v="5733" actId="478"/>
          <ac:picMkLst>
            <pc:docMk/>
            <pc:sldMk cId="2719515279" sldId="316"/>
            <ac:picMk id="19" creationId="{6B1A8900-3945-4475-8ADB-940218BA0E0C}"/>
          </ac:picMkLst>
        </pc:picChg>
        <pc:picChg chg="add mod">
          <ac:chgData name="Kohli, Abhi SIEP-IUV/I/C" userId="8df466d3-0db6-41cc-b122-11a6f246ec8b" providerId="ADAL" clId="{6ADDF83B-BC1C-427E-B398-69A66A75FB58}" dt="2024-08-29T03:09:39.360" v="5940" actId="14100"/>
          <ac:picMkLst>
            <pc:docMk/>
            <pc:sldMk cId="2719515279" sldId="316"/>
            <ac:picMk id="22" creationId="{2ED5CBCC-47B4-D904-E215-78C4BD8264AF}"/>
          </ac:picMkLst>
        </pc:picChg>
        <pc:picChg chg="add mod modCrop">
          <ac:chgData name="Kohli, Abhi SIEP-IUV/I/C" userId="8df466d3-0db6-41cc-b122-11a6f246ec8b" providerId="ADAL" clId="{6ADDF83B-BC1C-427E-B398-69A66A75FB58}" dt="2024-08-29T03:08:47.720" v="5919" actId="14100"/>
          <ac:picMkLst>
            <pc:docMk/>
            <pc:sldMk cId="2719515279" sldId="316"/>
            <ac:picMk id="24" creationId="{568778D6-54F1-FCEA-5C4F-ADB6BAE9F5A5}"/>
          </ac:picMkLst>
        </pc:picChg>
        <pc:picChg chg="add mod modCrop">
          <ac:chgData name="Kohli, Abhi SIEP-IUV/I/C" userId="8df466d3-0db6-41cc-b122-11a6f246ec8b" providerId="ADAL" clId="{6ADDF83B-BC1C-427E-B398-69A66A75FB58}" dt="2024-08-29T03:09:35.496" v="5937" actId="1076"/>
          <ac:picMkLst>
            <pc:docMk/>
            <pc:sldMk cId="2719515279" sldId="316"/>
            <ac:picMk id="26" creationId="{953FAEA0-7F74-66BD-EE0C-24D37DE4E893}"/>
          </ac:picMkLst>
        </pc:picChg>
      </pc:sldChg>
      <pc:sldMasterChg chg="delSldLayout">
        <pc:chgData name="Kohli, Abhi SIEP-IUV/I/C" userId="8df466d3-0db6-41cc-b122-11a6f246ec8b" providerId="ADAL" clId="{6ADDF83B-BC1C-427E-B398-69A66A75FB58}" dt="2024-08-28T19:26:23.711" v="4761" actId="2696"/>
        <pc:sldMasterMkLst>
          <pc:docMk/>
          <pc:sldMasterMk cId="1788353970" sldId="2147483648"/>
        </pc:sldMasterMkLst>
        <pc:sldLayoutChg chg="del">
          <pc:chgData name="Kohli, Abhi SIEP-IUV/I/C" userId="8df466d3-0db6-41cc-b122-11a6f246ec8b" providerId="ADAL" clId="{6ADDF83B-BC1C-427E-B398-69A66A75FB58}" dt="2024-08-28T19:26:23.711" v="4761" actId="2696"/>
          <pc:sldLayoutMkLst>
            <pc:docMk/>
            <pc:sldMasterMk cId="1788353970" sldId="2147483648"/>
            <pc:sldLayoutMk cId="2740013536" sldId="2147483668"/>
          </pc:sldLayoutMkLst>
        </pc:sldLayoutChg>
      </pc:sldMasterChg>
      <pc:sldMasterChg chg="addSp delSp modSp del mod delSldLayout">
        <pc:chgData name="Kohli, Abhi SIEP-IUV/I/C" userId="8df466d3-0db6-41cc-b122-11a6f246ec8b" providerId="ADAL" clId="{6ADDF83B-BC1C-427E-B398-69A66A75FB58}" dt="2024-08-27T15:27:16.282" v="3759" actId="700"/>
        <pc:sldMasterMkLst>
          <pc:docMk/>
          <pc:sldMasterMk cId="895819533" sldId="2147483668"/>
        </pc:sldMasterMkLst>
        <pc:spChg chg="mod">
          <ac:chgData name="Kohli, Abhi SIEP-IUV/I/C" userId="8df466d3-0db6-41cc-b122-11a6f246ec8b" providerId="ADAL" clId="{6ADDF83B-BC1C-427E-B398-69A66A75FB58}" dt="2024-08-27T15:26:51.870" v="3640" actId="948"/>
          <ac:spMkLst>
            <pc:docMk/>
            <pc:sldMasterMk cId="895819533" sldId="2147483668"/>
            <ac:spMk id="2" creationId="{00000000-0000-0000-0000-000000000000}"/>
          </ac:spMkLst>
        </pc:spChg>
        <pc:spChg chg="add del mod modVis">
          <ac:chgData name="Kohli, Abhi SIEP-IUV/I/C" userId="8df466d3-0db6-41cc-b122-11a6f246ec8b" providerId="ADAL" clId="{6ADDF83B-BC1C-427E-B398-69A66A75FB58}" dt="2024-08-27T15:26:51.954" v="3680"/>
          <ac:spMkLst>
            <pc:docMk/>
            <pc:sldMasterMk cId="895819533" sldId="2147483668"/>
            <ac:spMk id="7" creationId="{7B7600DB-3D84-CBC1-8049-79BF35E9E2B9}"/>
          </ac:spMkLst>
        </pc:spChg>
        <pc:graphicFrameChg chg="add mod ord modVis replST">
          <ac:chgData name="Kohli, Abhi SIEP-IUV/I/C" userId="8df466d3-0db6-41cc-b122-11a6f246ec8b" providerId="ADAL" clId="{6ADDF83B-BC1C-427E-B398-69A66A75FB58}" dt="2024-08-27T15:26:51.998" v="3695"/>
          <ac:graphicFrameMkLst>
            <pc:docMk/>
            <pc:sldMasterMk cId="895819533" sldId="2147483668"/>
            <ac:graphicFrameMk id="8" creationId="{5E4BDA37-FEE3-C77E-351C-AA10AC314B52}"/>
          </ac:graphicFrameMkLst>
        </pc:graphicFrameChg>
        <pc:sldLayoutChg chg="del">
          <pc:chgData name="Kohli, Abhi SIEP-IUV/I/C" userId="8df466d3-0db6-41cc-b122-11a6f246ec8b" providerId="ADAL" clId="{6ADDF83B-BC1C-427E-B398-69A66A75FB58}" dt="2024-08-27T15:27:16.282" v="3759" actId="700"/>
          <pc:sldLayoutMkLst>
            <pc:docMk/>
            <pc:sldMasterMk cId="895819533" sldId="2147483668"/>
            <pc:sldLayoutMk cId="2814234939" sldId="2147483669"/>
          </pc:sldLayoutMkLst>
        </pc:sldLayoutChg>
        <pc:sldLayoutChg chg="del">
          <pc:chgData name="Kohli, Abhi SIEP-IUV/I/C" userId="8df466d3-0db6-41cc-b122-11a6f246ec8b" providerId="ADAL" clId="{6ADDF83B-BC1C-427E-B398-69A66A75FB58}" dt="2024-08-27T15:27:16.282" v="3759" actId="700"/>
          <pc:sldLayoutMkLst>
            <pc:docMk/>
            <pc:sldMasterMk cId="895819533" sldId="2147483668"/>
            <pc:sldLayoutMk cId="4104464986" sldId="2147483670"/>
          </pc:sldLayoutMkLst>
        </pc:sldLayoutChg>
        <pc:sldLayoutChg chg="del">
          <pc:chgData name="Kohli, Abhi SIEP-IUV/I/C" userId="8df466d3-0db6-41cc-b122-11a6f246ec8b" providerId="ADAL" clId="{6ADDF83B-BC1C-427E-B398-69A66A75FB58}" dt="2024-08-27T15:27:16.282" v="3759" actId="700"/>
          <pc:sldLayoutMkLst>
            <pc:docMk/>
            <pc:sldMasterMk cId="895819533" sldId="2147483668"/>
            <pc:sldLayoutMk cId="2485919608" sldId="2147483671"/>
          </pc:sldLayoutMkLst>
        </pc:sldLayoutChg>
        <pc:sldLayoutChg chg="del">
          <pc:chgData name="Kohli, Abhi SIEP-IUV/I/C" userId="8df466d3-0db6-41cc-b122-11a6f246ec8b" providerId="ADAL" clId="{6ADDF83B-BC1C-427E-B398-69A66A75FB58}" dt="2024-08-27T15:27:16.282" v="3759" actId="700"/>
          <pc:sldLayoutMkLst>
            <pc:docMk/>
            <pc:sldMasterMk cId="895819533" sldId="2147483668"/>
            <pc:sldLayoutMk cId="1182069201" sldId="2147483672"/>
          </pc:sldLayoutMkLst>
        </pc:sldLayoutChg>
        <pc:sldLayoutChg chg="del">
          <pc:chgData name="Kohli, Abhi SIEP-IUV/I/C" userId="8df466d3-0db6-41cc-b122-11a6f246ec8b" providerId="ADAL" clId="{6ADDF83B-BC1C-427E-B398-69A66A75FB58}" dt="2024-08-27T15:27:16.282" v="3759" actId="700"/>
          <pc:sldLayoutMkLst>
            <pc:docMk/>
            <pc:sldMasterMk cId="895819533" sldId="2147483668"/>
            <pc:sldLayoutMk cId="169011866" sldId="2147483673"/>
          </pc:sldLayoutMkLst>
        </pc:sldLayoutChg>
        <pc:sldLayoutChg chg="del">
          <pc:chgData name="Kohli, Abhi SIEP-IUV/I/C" userId="8df466d3-0db6-41cc-b122-11a6f246ec8b" providerId="ADAL" clId="{6ADDF83B-BC1C-427E-B398-69A66A75FB58}" dt="2024-08-27T15:27:16.282" v="3759" actId="700"/>
          <pc:sldLayoutMkLst>
            <pc:docMk/>
            <pc:sldMasterMk cId="895819533" sldId="2147483668"/>
            <pc:sldLayoutMk cId="713314168" sldId="2147483674"/>
          </pc:sldLayoutMkLst>
        </pc:sldLayoutChg>
        <pc:sldLayoutChg chg="del">
          <pc:chgData name="Kohli, Abhi SIEP-IUV/I/C" userId="8df466d3-0db6-41cc-b122-11a6f246ec8b" providerId="ADAL" clId="{6ADDF83B-BC1C-427E-B398-69A66A75FB58}" dt="2024-08-27T15:27:16.282" v="3759" actId="700"/>
          <pc:sldLayoutMkLst>
            <pc:docMk/>
            <pc:sldMasterMk cId="895819533" sldId="2147483668"/>
            <pc:sldLayoutMk cId="3495543843" sldId="2147483675"/>
          </pc:sldLayoutMkLst>
        </pc:sldLayoutChg>
        <pc:sldLayoutChg chg="del">
          <pc:chgData name="Kohli, Abhi SIEP-IUV/I/C" userId="8df466d3-0db6-41cc-b122-11a6f246ec8b" providerId="ADAL" clId="{6ADDF83B-BC1C-427E-B398-69A66A75FB58}" dt="2024-08-27T15:27:16.282" v="3759" actId="700"/>
          <pc:sldLayoutMkLst>
            <pc:docMk/>
            <pc:sldMasterMk cId="895819533" sldId="2147483668"/>
            <pc:sldLayoutMk cId="1021641727" sldId="2147483676"/>
          </pc:sldLayoutMkLst>
        </pc:sldLayoutChg>
        <pc:sldLayoutChg chg="del">
          <pc:chgData name="Kohli, Abhi SIEP-IUV/I/C" userId="8df466d3-0db6-41cc-b122-11a6f246ec8b" providerId="ADAL" clId="{6ADDF83B-BC1C-427E-B398-69A66A75FB58}" dt="2024-08-27T15:27:16.282" v="3759" actId="700"/>
          <pc:sldLayoutMkLst>
            <pc:docMk/>
            <pc:sldMasterMk cId="895819533" sldId="2147483668"/>
            <pc:sldLayoutMk cId="3084815881" sldId="2147483677"/>
          </pc:sldLayoutMkLst>
        </pc:sldLayoutChg>
        <pc:sldLayoutChg chg="del">
          <pc:chgData name="Kohli, Abhi SIEP-IUV/I/C" userId="8df466d3-0db6-41cc-b122-11a6f246ec8b" providerId="ADAL" clId="{6ADDF83B-BC1C-427E-B398-69A66A75FB58}" dt="2024-08-27T15:27:16.282" v="3759" actId="700"/>
          <pc:sldLayoutMkLst>
            <pc:docMk/>
            <pc:sldMasterMk cId="895819533" sldId="2147483668"/>
            <pc:sldLayoutMk cId="835073688" sldId="2147483678"/>
          </pc:sldLayoutMkLst>
        </pc:sldLayoutChg>
        <pc:sldLayoutChg chg="del">
          <pc:chgData name="Kohli, Abhi SIEP-IUV/I/C" userId="8df466d3-0db6-41cc-b122-11a6f246ec8b" providerId="ADAL" clId="{6ADDF83B-BC1C-427E-B398-69A66A75FB58}" dt="2024-08-27T15:27:16.282" v="3759" actId="700"/>
          <pc:sldLayoutMkLst>
            <pc:docMk/>
            <pc:sldMasterMk cId="895819533" sldId="2147483668"/>
            <pc:sldLayoutMk cId="2717859879" sldId="2147483679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487ADD9-2083-264C-A652-8D52D02F7E72}" type="datetimeFigureOut">
              <a:rPr lang="en-US" smtClean="0"/>
              <a:t>8/30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97DC217-DF71-1A49-B3EA-559F1F43B0F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64252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ource National Hurricane center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67D724-F0E8-4A42-AC77-89A9AEAAEA1D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749685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67D724-F0E8-4A42-AC77-89A9AEAAEA1D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091086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0" name="Google Shape;320;g2eff8207cfc_1_57:notes"/>
          <p:cNvSpPr>
            <a:spLocks noGrp="1" noRot="1" noChangeAspect="1"/>
          </p:cNvSpPr>
          <p:nvPr>
            <p:ph type="sldImg" idx="2"/>
          </p:nvPr>
        </p:nvSpPr>
        <p:spPr>
          <a:xfrm>
            <a:off x="457200" y="720725"/>
            <a:ext cx="6400800" cy="36004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1" name="Google Shape;321;g2eff8207cfc_1_57:notes"/>
          <p:cNvSpPr txBox="1">
            <a:spLocks noGrp="1"/>
          </p:cNvSpPr>
          <p:nvPr>
            <p:ph type="body" idx="1"/>
          </p:nvPr>
        </p:nvSpPr>
        <p:spPr>
          <a:xfrm>
            <a:off x="731500" y="4560550"/>
            <a:ext cx="5852100" cy="4320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7DC217-DF71-1A49-B3EA-559F1F43B0FF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099185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55D37ED-316F-CC47-AB87-279C7C46A0A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1163951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7DC217-DF71-1A49-B3EA-559F1F43B0FF}" type="slidenum">
              <a:rPr lang="en-US" smtClean="0"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250715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ecognition to Dick Murphy to leading this and for his advisor ro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7DC217-DF71-1A49-B3EA-559F1F43B0FF}" type="slidenum">
              <a:rPr lang="en-US" smtClean="0"/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072677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ention schedule meetings in September via Conference Call 30 min to 1 hour refresh Comms &amp; Programs on how </a:t>
            </a:r>
            <a:r>
              <a:rPr lang="en-US" dirty="0" err="1"/>
              <a:t>to’s</a:t>
            </a:r>
            <a:r>
              <a:rPr lang="en-US" dirty="0"/>
              <a:t>? same for Treasur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7DC217-DF71-1A49-B3EA-559F1F43B0FF}" type="slidenum">
              <a:rPr lang="en-US" smtClean="0"/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57602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4248F2-5264-4601-AA0B-6C092F77F2D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67493" y="1122363"/>
            <a:ext cx="7096933" cy="2387600"/>
          </a:xfrm>
        </p:spPr>
        <p:txBody>
          <a:bodyPr anchor="b">
            <a:noAutofit/>
          </a:bodyPr>
          <a:lstStyle>
            <a:lvl1pPr algn="l">
              <a:defRPr sz="6000" b="1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CFB69D3-5632-4285-A209-9DCA67DA668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67493" y="3602038"/>
            <a:ext cx="9500507" cy="806675"/>
          </a:xfrm>
        </p:spPr>
        <p:txBody>
          <a:bodyPr>
            <a:noAutofit/>
          </a:bodyPr>
          <a:lstStyle>
            <a:lvl1pPr marL="0" indent="0" algn="l">
              <a:buNone/>
              <a:defRPr sz="320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AC79249-FDC0-364D-A734-AE1DE1605D28}"/>
              </a:ext>
            </a:extLst>
          </p:cNvPr>
          <p:cNvSpPr/>
          <p:nvPr userDrawn="1"/>
        </p:nvSpPr>
        <p:spPr>
          <a:xfrm>
            <a:off x="0" y="5805996"/>
            <a:ext cx="12192000" cy="105200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58080B3E-915C-2D4C-8608-596E1BFD6387}"/>
              </a:ext>
            </a:extLst>
          </p:cNvPr>
          <p:cNvSpPr/>
          <p:nvPr userDrawn="1"/>
        </p:nvSpPr>
        <p:spPr>
          <a:xfrm>
            <a:off x="1" y="5974672"/>
            <a:ext cx="1118508" cy="883327"/>
          </a:xfrm>
          <a:custGeom>
            <a:avLst/>
            <a:gdLst>
              <a:gd name="connsiteX0" fmla="*/ 0 w 1167493"/>
              <a:gd name="connsiteY0" fmla="*/ 0 h 1167493"/>
              <a:gd name="connsiteX1" fmla="*/ 1167493 w 1167493"/>
              <a:gd name="connsiteY1" fmla="*/ 1167493 h 1167493"/>
              <a:gd name="connsiteX2" fmla="*/ 0 w 1167493"/>
              <a:gd name="connsiteY2" fmla="*/ 1167493 h 1167493"/>
              <a:gd name="connsiteX3" fmla="*/ 0 w 1167493"/>
              <a:gd name="connsiteY3" fmla="*/ 0 h 11674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67493" h="1167493">
                <a:moveTo>
                  <a:pt x="0" y="0"/>
                </a:moveTo>
                <a:cubicBezTo>
                  <a:pt x="0" y="644789"/>
                  <a:pt x="522704" y="1167493"/>
                  <a:pt x="1167493" y="1167493"/>
                </a:cubicBezTo>
                <a:lnTo>
                  <a:pt x="0" y="1167493"/>
                </a:lnTo>
                <a:lnTo>
                  <a:pt x="0" y="0"/>
                </a:lnTo>
                <a:close/>
              </a:path>
            </a:pathLst>
          </a:custGeom>
          <a:solidFill>
            <a:srgbClr val="0D4C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BC68F289-2744-2F48-893A-3F17911625C8}"/>
              </a:ext>
            </a:extLst>
          </p:cNvPr>
          <p:cNvSpPr/>
          <p:nvPr userDrawn="1"/>
        </p:nvSpPr>
        <p:spPr>
          <a:xfrm>
            <a:off x="0" y="-1"/>
            <a:ext cx="1167493" cy="1167493"/>
          </a:xfrm>
          <a:custGeom>
            <a:avLst/>
            <a:gdLst>
              <a:gd name="connsiteX0" fmla="*/ 0 w 862693"/>
              <a:gd name="connsiteY0" fmla="*/ 0 h 862693"/>
              <a:gd name="connsiteX1" fmla="*/ 862693 w 862693"/>
              <a:gd name="connsiteY1" fmla="*/ 0 h 862693"/>
              <a:gd name="connsiteX2" fmla="*/ 0 w 862693"/>
              <a:gd name="connsiteY2" fmla="*/ 862693 h 862693"/>
              <a:gd name="connsiteX3" fmla="*/ 0 w 862693"/>
              <a:gd name="connsiteY3" fmla="*/ 0 h 8626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2693" h="862693">
                <a:moveTo>
                  <a:pt x="0" y="0"/>
                </a:moveTo>
                <a:lnTo>
                  <a:pt x="862693" y="0"/>
                </a:lnTo>
                <a:cubicBezTo>
                  <a:pt x="862693" y="476453"/>
                  <a:pt x="476452" y="862693"/>
                  <a:pt x="0" y="862693"/>
                </a:cubicBezTo>
                <a:lnTo>
                  <a:pt x="0" y="0"/>
                </a:lnTo>
                <a:close/>
              </a:path>
            </a:pathLst>
          </a:custGeom>
          <a:solidFill>
            <a:srgbClr val="0D4C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8" name="Freeform 27">
            <a:extLst>
              <a:ext uri="{FF2B5EF4-FFF2-40B4-BE49-F238E27FC236}">
                <a16:creationId xmlns:a16="http://schemas.microsoft.com/office/drawing/2014/main" id="{9E240E8A-950E-7946-826C-415CB5DACA43}"/>
              </a:ext>
            </a:extLst>
          </p:cNvPr>
          <p:cNvSpPr/>
          <p:nvPr userDrawn="1"/>
        </p:nvSpPr>
        <p:spPr>
          <a:xfrm>
            <a:off x="11594237" y="5805995"/>
            <a:ext cx="597763" cy="1052004"/>
          </a:xfrm>
          <a:custGeom>
            <a:avLst/>
            <a:gdLst>
              <a:gd name="connsiteX0" fmla="*/ 1167473 w 1167493"/>
              <a:gd name="connsiteY0" fmla="*/ 0 h 2272167"/>
              <a:gd name="connsiteX1" fmla="*/ 1167493 w 1167493"/>
              <a:gd name="connsiteY1" fmla="*/ 0 h 2272167"/>
              <a:gd name="connsiteX2" fmla="*/ 1167493 w 1167493"/>
              <a:gd name="connsiteY2" fmla="*/ 492960 h 2272167"/>
              <a:gd name="connsiteX3" fmla="*/ 1167493 w 1167493"/>
              <a:gd name="connsiteY3" fmla="*/ 720385 h 2272167"/>
              <a:gd name="connsiteX4" fmla="*/ 1167493 w 1167493"/>
              <a:gd name="connsiteY4" fmla="*/ 2272167 h 2272167"/>
              <a:gd name="connsiteX5" fmla="*/ 0 w 1167493"/>
              <a:gd name="connsiteY5" fmla="*/ 2272167 h 2272167"/>
              <a:gd name="connsiteX6" fmla="*/ 0 w 1167493"/>
              <a:gd name="connsiteY6" fmla="*/ 1898074 h 2272167"/>
              <a:gd name="connsiteX7" fmla="*/ 0 w 1167493"/>
              <a:gd name="connsiteY7" fmla="*/ 1271597 h 2272167"/>
              <a:gd name="connsiteX8" fmla="*/ 0 w 1167493"/>
              <a:gd name="connsiteY8" fmla="*/ 1177688 h 2272167"/>
              <a:gd name="connsiteX9" fmla="*/ 1048124 w 1167493"/>
              <a:gd name="connsiteY9" fmla="*/ 6080 h 2272167"/>
              <a:gd name="connsiteX10" fmla="*/ 1167473 w 1167493"/>
              <a:gd name="connsiteY10" fmla="*/ 0 h 22721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167493" h="2272167">
                <a:moveTo>
                  <a:pt x="1167473" y="0"/>
                </a:moveTo>
                <a:lnTo>
                  <a:pt x="1167493" y="0"/>
                </a:lnTo>
                <a:lnTo>
                  <a:pt x="1167493" y="492960"/>
                </a:lnTo>
                <a:lnTo>
                  <a:pt x="1167493" y="720385"/>
                </a:lnTo>
                <a:lnTo>
                  <a:pt x="1167493" y="2272167"/>
                </a:lnTo>
                <a:lnTo>
                  <a:pt x="0" y="2272167"/>
                </a:lnTo>
                <a:lnTo>
                  <a:pt x="0" y="1898074"/>
                </a:lnTo>
                <a:lnTo>
                  <a:pt x="0" y="1271597"/>
                </a:lnTo>
                <a:lnTo>
                  <a:pt x="0" y="1177688"/>
                </a:lnTo>
                <a:cubicBezTo>
                  <a:pt x="0" y="567919"/>
                  <a:pt x="459408" y="66389"/>
                  <a:pt x="1048124" y="6080"/>
                </a:cubicBezTo>
                <a:lnTo>
                  <a:pt x="1167473" y="0"/>
                </a:lnTo>
                <a:close/>
              </a:path>
            </a:pathLst>
          </a:custGeom>
          <a:solidFill>
            <a:srgbClr val="0D4C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pic>
        <p:nvPicPr>
          <p:cNvPr id="10" name="Picture 9" descr="A logo with white and blue circles&#10;&#10;Description automatically generated">
            <a:extLst>
              <a:ext uri="{FF2B5EF4-FFF2-40B4-BE49-F238E27FC236}">
                <a16:creationId xmlns:a16="http://schemas.microsoft.com/office/drawing/2014/main" id="{3613D386-2423-CE79-F59E-841E4D28212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833067" y="0"/>
            <a:ext cx="2840854" cy="28408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64985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melin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3">
            <a:extLst>
              <a:ext uri="{FF2B5EF4-FFF2-40B4-BE49-F238E27FC236}">
                <a16:creationId xmlns:a16="http://schemas.microsoft.com/office/drawing/2014/main" id="{6A7F6A3F-E1DD-A246-9A6D-5F9B18BA2588}"/>
              </a:ext>
            </a:extLst>
          </p:cNvPr>
          <p:cNvSpPr/>
          <p:nvPr userDrawn="1"/>
        </p:nvSpPr>
        <p:spPr>
          <a:xfrm flipH="1">
            <a:off x="8580896" y="1"/>
            <a:ext cx="3611104" cy="3611104"/>
          </a:xfrm>
          <a:custGeom>
            <a:avLst/>
            <a:gdLst>
              <a:gd name="connsiteX0" fmla="*/ 0 w 1167493"/>
              <a:gd name="connsiteY0" fmla="*/ 0 h 1167493"/>
              <a:gd name="connsiteX1" fmla="*/ 1167493 w 1167493"/>
              <a:gd name="connsiteY1" fmla="*/ 0 h 1167493"/>
              <a:gd name="connsiteX2" fmla="*/ 0 w 1167493"/>
              <a:gd name="connsiteY2" fmla="*/ 1167493 h 1167493"/>
              <a:gd name="connsiteX3" fmla="*/ 0 w 1167493"/>
              <a:gd name="connsiteY3" fmla="*/ 0 h 11674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67493" h="1167493">
                <a:moveTo>
                  <a:pt x="0" y="0"/>
                </a:moveTo>
                <a:lnTo>
                  <a:pt x="1167493" y="0"/>
                </a:lnTo>
                <a:cubicBezTo>
                  <a:pt x="522704" y="0"/>
                  <a:pt x="0" y="522704"/>
                  <a:pt x="0" y="1167493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5" name="Freeform 4">
            <a:extLst>
              <a:ext uri="{FF2B5EF4-FFF2-40B4-BE49-F238E27FC236}">
                <a16:creationId xmlns:a16="http://schemas.microsoft.com/office/drawing/2014/main" id="{055FD0FC-C8FF-6741-A364-A29CDC6F9495}"/>
              </a:ext>
            </a:extLst>
          </p:cNvPr>
          <p:cNvSpPr/>
          <p:nvPr userDrawn="1"/>
        </p:nvSpPr>
        <p:spPr>
          <a:xfrm rot="5400000" flipH="1">
            <a:off x="1" y="3246896"/>
            <a:ext cx="3611104" cy="3611104"/>
          </a:xfrm>
          <a:custGeom>
            <a:avLst/>
            <a:gdLst>
              <a:gd name="connsiteX0" fmla="*/ 0 w 1167493"/>
              <a:gd name="connsiteY0" fmla="*/ 0 h 1167493"/>
              <a:gd name="connsiteX1" fmla="*/ 1167493 w 1167493"/>
              <a:gd name="connsiteY1" fmla="*/ 1167493 h 1167493"/>
              <a:gd name="connsiteX2" fmla="*/ 0 w 1167493"/>
              <a:gd name="connsiteY2" fmla="*/ 1167493 h 1167493"/>
              <a:gd name="connsiteX3" fmla="*/ 0 w 1167493"/>
              <a:gd name="connsiteY3" fmla="*/ 0 h 11674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67493" h="1167493">
                <a:moveTo>
                  <a:pt x="0" y="0"/>
                </a:moveTo>
                <a:cubicBezTo>
                  <a:pt x="0" y="644789"/>
                  <a:pt x="522704" y="1167493"/>
                  <a:pt x="1167493" y="1167493"/>
                </a:cubicBezTo>
                <a:lnTo>
                  <a:pt x="0" y="1167493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D97974-B93C-4C96-B3F6-F69E3D6DE6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67492" y="381000"/>
            <a:ext cx="9779183" cy="1325563"/>
          </a:xfrm>
        </p:spPr>
        <p:txBody>
          <a:bodyPr anchor="b">
            <a:noAutofit/>
          </a:bodyPr>
          <a:lstStyle>
            <a:lvl1pPr>
              <a:defRPr sz="4800" b="1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A6FC6F2-80B4-49A7-9448-33FE2DF0E96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67493" y="2087561"/>
            <a:ext cx="9779182" cy="3366815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>
                <a:solidFill>
                  <a:schemeClr val="tx1"/>
                </a:solidFill>
                <a:latin typeface="+mn-lt"/>
              </a:defRPr>
            </a:lvl2pPr>
            <a:lvl3pPr marL="914400" indent="0">
              <a:buNone/>
              <a:defRPr>
                <a:solidFill>
                  <a:schemeClr val="tx1"/>
                </a:solidFill>
                <a:latin typeface="+mn-lt"/>
              </a:defRPr>
            </a:lvl3pPr>
            <a:lvl4pPr marL="1371600" indent="0">
              <a:buNone/>
              <a:defRPr>
                <a:solidFill>
                  <a:schemeClr val="tx1"/>
                </a:solidFill>
                <a:latin typeface="+mn-lt"/>
              </a:defRPr>
            </a:lvl4pPr>
            <a:lvl5pPr marL="1828800" indent="0">
              <a:buNone/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7536C149-3EFE-A94E-902D-57CED00B2C0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0" y="6356350"/>
            <a:ext cx="1701018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1200">
                <a:solidFill>
                  <a:schemeClr val="accent3"/>
                </a:solidFill>
                <a:latin typeface="+mn-lt"/>
              </a:defRPr>
            </a:lvl1pPr>
          </a:lstStyle>
          <a:p>
            <a:fld id="{B5FB6290-736A-460B-B6F1-4AE3E6D54C56}" type="datetime1">
              <a:rPr lang="en-US" smtClean="0"/>
              <a:t>8/30/2024</a:t>
            </a:fld>
            <a:endParaRPr lang="en-US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53CA1E78-F17D-F34D-9F81-0DBF44F378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defRPr sz="12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/>
              <a:t>SPE-GCS KICK-OFF MEETING 2024-2025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1FE54918-A625-F64F-A42E-A427E9B2D48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153276" y="6356350"/>
            <a:ext cx="1657723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>
              <a:defRPr sz="1200">
                <a:solidFill>
                  <a:schemeClr val="accent2"/>
                </a:solidFill>
                <a:latin typeface="+mn-lt"/>
              </a:defRPr>
            </a:lvl1pPr>
          </a:lstStyle>
          <a:p>
            <a:fld id="{294A09A9-5501-47C1-A89A-A340965A2BE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 descr="A logo with white and blue circles&#10;&#10;Description automatically generated">
            <a:extLst>
              <a:ext uri="{FF2B5EF4-FFF2-40B4-BE49-F238E27FC236}">
                <a16:creationId xmlns:a16="http://schemas.microsoft.com/office/drawing/2014/main" id="{6A38DEE7-9867-F998-A10E-5A77D2EE963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963407" y="-90683"/>
            <a:ext cx="1218147" cy="1218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92755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D97974-B93C-4C96-B3F6-F69E3D6DE6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67492" y="381000"/>
            <a:ext cx="9779183" cy="1325563"/>
          </a:xfrm>
        </p:spPr>
        <p:txBody>
          <a:bodyPr anchor="b">
            <a:noAutofit/>
          </a:bodyPr>
          <a:lstStyle>
            <a:lvl1pPr>
              <a:defRPr sz="4800" b="1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A6FC6F2-80B4-49A7-9448-33FE2DF0E96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67493" y="2528203"/>
            <a:ext cx="4663440" cy="2828613"/>
          </a:xfrm>
        </p:spPr>
        <p:txBody>
          <a:bodyPr>
            <a:noAutofit/>
          </a:bodyPr>
          <a:lstStyle>
            <a:lvl1pPr marL="0" indent="0">
              <a:buNone/>
              <a:defRPr sz="2000">
                <a:latin typeface="+mn-lt"/>
              </a:defRPr>
            </a:lvl1pPr>
            <a:lvl2pPr marL="457200" indent="0">
              <a:buNone/>
              <a:defRPr sz="1800">
                <a:latin typeface="+mn-lt"/>
              </a:defRPr>
            </a:lvl2pPr>
            <a:lvl3pPr marL="914400" indent="0">
              <a:buNone/>
              <a:defRPr sz="1600">
                <a:latin typeface="+mn-lt"/>
              </a:defRPr>
            </a:lvl3pPr>
            <a:lvl4pPr marL="1371600" indent="0">
              <a:buNone/>
              <a:defRPr sz="1400">
                <a:latin typeface="+mn-lt"/>
              </a:defRPr>
            </a:lvl4pPr>
            <a:lvl5pPr marL="1828800" indent="0">
              <a:buNone/>
              <a:defRPr sz="14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6A7F6A3F-E1DD-A246-9A6D-5F9B18BA2588}"/>
              </a:ext>
            </a:extLst>
          </p:cNvPr>
          <p:cNvSpPr/>
          <p:nvPr userDrawn="1"/>
        </p:nvSpPr>
        <p:spPr>
          <a:xfrm flipH="1">
            <a:off x="8580896" y="1"/>
            <a:ext cx="3611104" cy="3611104"/>
          </a:xfrm>
          <a:custGeom>
            <a:avLst/>
            <a:gdLst>
              <a:gd name="connsiteX0" fmla="*/ 0 w 1167493"/>
              <a:gd name="connsiteY0" fmla="*/ 0 h 1167493"/>
              <a:gd name="connsiteX1" fmla="*/ 1167493 w 1167493"/>
              <a:gd name="connsiteY1" fmla="*/ 0 h 1167493"/>
              <a:gd name="connsiteX2" fmla="*/ 0 w 1167493"/>
              <a:gd name="connsiteY2" fmla="*/ 1167493 h 1167493"/>
              <a:gd name="connsiteX3" fmla="*/ 0 w 1167493"/>
              <a:gd name="connsiteY3" fmla="*/ 0 h 11674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67493" h="1167493">
                <a:moveTo>
                  <a:pt x="0" y="0"/>
                </a:moveTo>
                <a:lnTo>
                  <a:pt x="1167493" y="0"/>
                </a:lnTo>
                <a:cubicBezTo>
                  <a:pt x="522704" y="0"/>
                  <a:pt x="0" y="522704"/>
                  <a:pt x="0" y="1167493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5" name="Freeform 4">
            <a:extLst>
              <a:ext uri="{FF2B5EF4-FFF2-40B4-BE49-F238E27FC236}">
                <a16:creationId xmlns:a16="http://schemas.microsoft.com/office/drawing/2014/main" id="{055FD0FC-C8FF-6741-A364-A29CDC6F9495}"/>
              </a:ext>
            </a:extLst>
          </p:cNvPr>
          <p:cNvSpPr/>
          <p:nvPr userDrawn="1"/>
        </p:nvSpPr>
        <p:spPr>
          <a:xfrm flipH="1">
            <a:off x="8580896" y="3246896"/>
            <a:ext cx="3611104" cy="3611104"/>
          </a:xfrm>
          <a:custGeom>
            <a:avLst/>
            <a:gdLst>
              <a:gd name="connsiteX0" fmla="*/ 0 w 1167493"/>
              <a:gd name="connsiteY0" fmla="*/ 0 h 1167493"/>
              <a:gd name="connsiteX1" fmla="*/ 1167493 w 1167493"/>
              <a:gd name="connsiteY1" fmla="*/ 1167493 h 1167493"/>
              <a:gd name="connsiteX2" fmla="*/ 0 w 1167493"/>
              <a:gd name="connsiteY2" fmla="*/ 1167493 h 1167493"/>
              <a:gd name="connsiteX3" fmla="*/ 0 w 1167493"/>
              <a:gd name="connsiteY3" fmla="*/ 0 h 11674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67493" h="1167493">
                <a:moveTo>
                  <a:pt x="0" y="0"/>
                </a:moveTo>
                <a:cubicBezTo>
                  <a:pt x="0" y="644789"/>
                  <a:pt x="522704" y="1167493"/>
                  <a:pt x="1167493" y="1167493"/>
                </a:cubicBezTo>
                <a:lnTo>
                  <a:pt x="0" y="116749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D11C9832-A021-954E-A34F-2988D1189AE9}"/>
              </a:ext>
            </a:extLst>
          </p:cNvPr>
          <p:cNvSpPr/>
          <p:nvPr userDrawn="1"/>
        </p:nvSpPr>
        <p:spPr>
          <a:xfrm>
            <a:off x="1" y="0"/>
            <a:ext cx="933856" cy="933856"/>
          </a:xfrm>
          <a:custGeom>
            <a:avLst/>
            <a:gdLst>
              <a:gd name="connsiteX0" fmla="*/ 0 w 862693"/>
              <a:gd name="connsiteY0" fmla="*/ 0 h 862693"/>
              <a:gd name="connsiteX1" fmla="*/ 862693 w 862693"/>
              <a:gd name="connsiteY1" fmla="*/ 0 h 862693"/>
              <a:gd name="connsiteX2" fmla="*/ 0 w 862693"/>
              <a:gd name="connsiteY2" fmla="*/ 862693 h 862693"/>
              <a:gd name="connsiteX3" fmla="*/ 0 w 862693"/>
              <a:gd name="connsiteY3" fmla="*/ 0 h 8626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2693" h="862693">
                <a:moveTo>
                  <a:pt x="0" y="0"/>
                </a:moveTo>
                <a:lnTo>
                  <a:pt x="862693" y="0"/>
                </a:lnTo>
                <a:cubicBezTo>
                  <a:pt x="862693" y="476453"/>
                  <a:pt x="476452" y="862693"/>
                  <a:pt x="0" y="862693"/>
                </a:cubicBezTo>
                <a:lnTo>
                  <a:pt x="0" y="0"/>
                </a:lnTo>
                <a:close/>
              </a:path>
            </a:pathLst>
          </a:custGeom>
          <a:solidFill>
            <a:srgbClr val="0D4C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7536C149-3EFE-A94E-902D-57CED00B2C0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1200">
                <a:solidFill>
                  <a:schemeClr val="accent3"/>
                </a:solidFill>
                <a:latin typeface="+mn-lt"/>
              </a:defRPr>
            </a:lvl1pPr>
          </a:lstStyle>
          <a:p>
            <a:fld id="{FC0AFF72-23E7-4125-B642-6B9D1DF5064D}" type="datetime1">
              <a:rPr lang="en-US" smtClean="0"/>
              <a:t>8/30/2024</a:t>
            </a:fld>
            <a:endParaRPr lang="en-US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53CA1E78-F17D-F34D-9F81-0DBF44F378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defRPr sz="120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en-US"/>
              <a:t>SPE-GCS KICK-OFF MEETING 2024-2025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1FE54918-A625-F64F-A42E-A427E9B2D48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153276" y="6356350"/>
            <a:ext cx="1657723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>
              <a:defRPr sz="1200">
                <a:solidFill>
                  <a:schemeClr val="accent2"/>
                </a:solidFill>
                <a:latin typeface="+mn-lt"/>
              </a:defRPr>
            </a:lvl1pPr>
          </a:lstStyle>
          <a:p>
            <a:fld id="{294A09A9-5501-47C1-A89A-A340965A2B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94CA559C-3355-DE44-ACF9-BDB6083C4225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283235" y="2528203"/>
            <a:ext cx="4663440" cy="2828613"/>
          </a:xfrm>
        </p:spPr>
        <p:txBody>
          <a:bodyPr>
            <a:noAutofit/>
          </a:bodyPr>
          <a:lstStyle>
            <a:lvl1pPr marL="0" indent="0">
              <a:buNone/>
              <a:defRPr sz="2000">
                <a:latin typeface="+mn-lt"/>
              </a:defRPr>
            </a:lvl1pPr>
            <a:lvl2pPr marL="457200" indent="0">
              <a:buNone/>
              <a:defRPr sz="1800">
                <a:latin typeface="+mn-lt"/>
              </a:defRPr>
            </a:lvl2pPr>
            <a:lvl3pPr marL="914400" indent="0">
              <a:buNone/>
              <a:defRPr sz="1600">
                <a:latin typeface="+mn-lt"/>
              </a:defRPr>
            </a:lvl3pPr>
            <a:lvl4pPr marL="1371600" indent="0">
              <a:buNone/>
              <a:defRPr sz="1400">
                <a:latin typeface="+mn-lt"/>
              </a:defRPr>
            </a:lvl4pPr>
            <a:lvl5pPr marL="1828800" indent="0">
              <a:buNone/>
              <a:defRPr sz="14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0B33DABA-7BF5-1147-BA5E-63B92F220E51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1167493" y="2005689"/>
            <a:ext cx="4663440" cy="522514"/>
          </a:xfrm>
        </p:spPr>
        <p:txBody>
          <a:bodyPr>
            <a:noAutofit/>
          </a:bodyPr>
          <a:lstStyle>
            <a:lvl1pPr marL="0" indent="0">
              <a:buNone/>
              <a:defRPr sz="2400" b="1">
                <a:latin typeface="+mj-lt"/>
              </a:defRPr>
            </a:lvl1pPr>
            <a:lvl2pPr marL="457200" indent="0">
              <a:buNone/>
              <a:defRPr sz="2000" b="1">
                <a:latin typeface="+mj-lt"/>
              </a:defRPr>
            </a:lvl2pPr>
            <a:lvl3pPr marL="914400" indent="0">
              <a:buNone/>
              <a:defRPr sz="1800" b="1">
                <a:latin typeface="+mj-lt"/>
              </a:defRPr>
            </a:lvl3pPr>
            <a:lvl4pPr marL="1371600" indent="0">
              <a:buNone/>
              <a:defRPr sz="1600" b="1">
                <a:latin typeface="+mj-lt"/>
              </a:defRPr>
            </a:lvl4pPr>
            <a:lvl5pPr marL="18288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1B05BEE9-8BC0-EC44-B913-DB6426DF2EA7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6283235" y="2005689"/>
            <a:ext cx="4663440" cy="522514"/>
          </a:xfrm>
        </p:spPr>
        <p:txBody>
          <a:bodyPr>
            <a:noAutofit/>
          </a:bodyPr>
          <a:lstStyle>
            <a:lvl1pPr marL="0" indent="0">
              <a:buNone/>
              <a:defRPr sz="2400" b="1">
                <a:latin typeface="+mj-lt"/>
              </a:defRPr>
            </a:lvl1pPr>
            <a:lvl2pPr marL="457200" indent="0">
              <a:buNone/>
              <a:defRPr sz="2000" b="1">
                <a:latin typeface="+mj-lt"/>
              </a:defRPr>
            </a:lvl2pPr>
            <a:lvl3pPr marL="914400" indent="0">
              <a:buNone/>
              <a:defRPr sz="1800" b="1">
                <a:latin typeface="+mj-lt"/>
              </a:defRPr>
            </a:lvl3pPr>
            <a:lvl4pPr marL="1371600" indent="0">
              <a:buNone/>
              <a:defRPr sz="1600" b="1">
                <a:latin typeface="+mj-lt"/>
              </a:defRPr>
            </a:lvl4pPr>
            <a:lvl5pPr marL="18288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7" name="Picture 16" descr="A logo with white and blue circles&#10;&#10;Description automatically generated">
            <a:extLst>
              <a:ext uri="{FF2B5EF4-FFF2-40B4-BE49-F238E27FC236}">
                <a16:creationId xmlns:a16="http://schemas.microsoft.com/office/drawing/2014/main" id="{C089B405-EBC8-480A-565D-F2DC8592A8A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963407" y="-90683"/>
            <a:ext cx="1218147" cy="1218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191274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D97974-B93C-4C96-B3F6-F69E3D6DE6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67492" y="381000"/>
            <a:ext cx="9779183" cy="1325563"/>
          </a:xfrm>
        </p:spPr>
        <p:txBody>
          <a:bodyPr anchor="b">
            <a:noAutofit/>
          </a:bodyPr>
          <a:lstStyle>
            <a:lvl1pPr>
              <a:defRPr sz="4800" b="1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A6FC6F2-80B4-49A7-9448-33FE2DF0E96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67491" y="2526318"/>
            <a:ext cx="3218688" cy="2828613"/>
          </a:xfrm>
        </p:spPr>
        <p:txBody>
          <a:bodyPr>
            <a:noAutofit/>
          </a:bodyPr>
          <a:lstStyle>
            <a:lvl1pPr marL="0" indent="0">
              <a:buNone/>
              <a:defRPr sz="2000">
                <a:latin typeface="+mn-lt"/>
              </a:defRPr>
            </a:lvl1pPr>
            <a:lvl2pPr marL="457200" indent="0">
              <a:buNone/>
              <a:defRPr sz="1800">
                <a:latin typeface="+mn-lt"/>
              </a:defRPr>
            </a:lvl2pPr>
            <a:lvl3pPr marL="914400" indent="0">
              <a:buNone/>
              <a:defRPr sz="1600">
                <a:latin typeface="+mn-lt"/>
              </a:defRPr>
            </a:lvl3pPr>
            <a:lvl4pPr marL="1371600" indent="0">
              <a:buNone/>
              <a:defRPr sz="1400">
                <a:latin typeface="+mn-lt"/>
              </a:defRPr>
            </a:lvl4pPr>
            <a:lvl5pPr marL="1828800" indent="0">
              <a:buNone/>
              <a:defRPr sz="14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6A7F6A3F-E1DD-A246-9A6D-5F9B18BA2588}"/>
              </a:ext>
            </a:extLst>
          </p:cNvPr>
          <p:cNvSpPr/>
          <p:nvPr userDrawn="1"/>
        </p:nvSpPr>
        <p:spPr>
          <a:xfrm rot="5400000">
            <a:off x="8580896" y="0"/>
            <a:ext cx="3611104" cy="3611104"/>
          </a:xfrm>
          <a:custGeom>
            <a:avLst/>
            <a:gdLst>
              <a:gd name="connsiteX0" fmla="*/ 0 w 1167493"/>
              <a:gd name="connsiteY0" fmla="*/ 0 h 1167493"/>
              <a:gd name="connsiteX1" fmla="*/ 1167493 w 1167493"/>
              <a:gd name="connsiteY1" fmla="*/ 0 h 1167493"/>
              <a:gd name="connsiteX2" fmla="*/ 0 w 1167493"/>
              <a:gd name="connsiteY2" fmla="*/ 1167493 h 1167493"/>
              <a:gd name="connsiteX3" fmla="*/ 0 w 1167493"/>
              <a:gd name="connsiteY3" fmla="*/ 0 h 11674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67493" h="1167493">
                <a:moveTo>
                  <a:pt x="0" y="0"/>
                </a:moveTo>
                <a:lnTo>
                  <a:pt x="1167493" y="0"/>
                </a:lnTo>
                <a:cubicBezTo>
                  <a:pt x="522704" y="0"/>
                  <a:pt x="0" y="522704"/>
                  <a:pt x="0" y="1167493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5" name="Freeform 4">
            <a:extLst>
              <a:ext uri="{FF2B5EF4-FFF2-40B4-BE49-F238E27FC236}">
                <a16:creationId xmlns:a16="http://schemas.microsoft.com/office/drawing/2014/main" id="{055FD0FC-C8FF-6741-A364-A29CDC6F9495}"/>
              </a:ext>
            </a:extLst>
          </p:cNvPr>
          <p:cNvSpPr/>
          <p:nvPr userDrawn="1"/>
        </p:nvSpPr>
        <p:spPr>
          <a:xfrm>
            <a:off x="-2364" y="3246896"/>
            <a:ext cx="3611104" cy="3611104"/>
          </a:xfrm>
          <a:custGeom>
            <a:avLst/>
            <a:gdLst>
              <a:gd name="connsiteX0" fmla="*/ 0 w 1167493"/>
              <a:gd name="connsiteY0" fmla="*/ 0 h 1167493"/>
              <a:gd name="connsiteX1" fmla="*/ 1167493 w 1167493"/>
              <a:gd name="connsiteY1" fmla="*/ 1167493 h 1167493"/>
              <a:gd name="connsiteX2" fmla="*/ 0 w 1167493"/>
              <a:gd name="connsiteY2" fmla="*/ 1167493 h 1167493"/>
              <a:gd name="connsiteX3" fmla="*/ 0 w 1167493"/>
              <a:gd name="connsiteY3" fmla="*/ 0 h 11674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67493" h="1167493">
                <a:moveTo>
                  <a:pt x="0" y="0"/>
                </a:moveTo>
                <a:cubicBezTo>
                  <a:pt x="0" y="644789"/>
                  <a:pt x="522704" y="1167493"/>
                  <a:pt x="1167493" y="1167493"/>
                </a:cubicBezTo>
                <a:lnTo>
                  <a:pt x="0" y="116749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latin typeface="+mn-lt"/>
            </a:endParaRP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D11C9832-A021-954E-A34F-2988D1189AE9}"/>
              </a:ext>
            </a:extLst>
          </p:cNvPr>
          <p:cNvSpPr/>
          <p:nvPr userDrawn="1"/>
        </p:nvSpPr>
        <p:spPr>
          <a:xfrm rot="5400000" flipH="1">
            <a:off x="11258144" y="5924144"/>
            <a:ext cx="933856" cy="933856"/>
          </a:xfrm>
          <a:custGeom>
            <a:avLst/>
            <a:gdLst>
              <a:gd name="connsiteX0" fmla="*/ 0 w 862693"/>
              <a:gd name="connsiteY0" fmla="*/ 0 h 862693"/>
              <a:gd name="connsiteX1" fmla="*/ 862693 w 862693"/>
              <a:gd name="connsiteY1" fmla="*/ 0 h 862693"/>
              <a:gd name="connsiteX2" fmla="*/ 0 w 862693"/>
              <a:gd name="connsiteY2" fmla="*/ 862693 h 862693"/>
              <a:gd name="connsiteX3" fmla="*/ 0 w 862693"/>
              <a:gd name="connsiteY3" fmla="*/ 0 h 8626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2693" h="862693">
                <a:moveTo>
                  <a:pt x="0" y="0"/>
                </a:moveTo>
                <a:lnTo>
                  <a:pt x="862693" y="0"/>
                </a:lnTo>
                <a:cubicBezTo>
                  <a:pt x="862693" y="476453"/>
                  <a:pt x="476452" y="862693"/>
                  <a:pt x="0" y="862693"/>
                </a:cubicBezTo>
                <a:lnTo>
                  <a:pt x="0" y="0"/>
                </a:lnTo>
                <a:close/>
              </a:path>
            </a:pathLst>
          </a:custGeom>
          <a:solidFill>
            <a:srgbClr val="0D4C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latin typeface="+mn-lt"/>
            </a:endParaRP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7536C149-3EFE-A94E-902D-57CED00B2C0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0" y="6356350"/>
            <a:ext cx="1767114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1200">
                <a:solidFill>
                  <a:schemeClr val="accent2"/>
                </a:solidFill>
                <a:latin typeface="+mn-lt"/>
              </a:defRPr>
            </a:lvl1pPr>
          </a:lstStyle>
          <a:p>
            <a:fld id="{F7377478-DEEF-4078-9E57-39342FAD3233}" type="datetime1">
              <a:rPr lang="en-US" smtClean="0"/>
              <a:t>8/30/2024</a:t>
            </a:fld>
            <a:endParaRPr lang="en-US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53CA1E78-F17D-F34D-9F81-0DBF44F378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defRPr sz="120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en-US"/>
              <a:t>SPE-GCS KICK-OFF MEETING 2024-2025</a:t>
            </a:r>
            <a:endParaRPr lang="en-US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94CA559C-3355-DE44-ACF9-BDB6083C4225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4683787" y="2526318"/>
            <a:ext cx="3173279" cy="2828613"/>
          </a:xfrm>
        </p:spPr>
        <p:txBody>
          <a:bodyPr>
            <a:noAutofit/>
          </a:bodyPr>
          <a:lstStyle>
            <a:lvl1pPr marL="0" indent="0">
              <a:buNone/>
              <a:defRPr sz="2000">
                <a:latin typeface="+mn-lt"/>
              </a:defRPr>
            </a:lvl1pPr>
            <a:lvl2pPr marL="457200" indent="0">
              <a:buNone/>
              <a:defRPr sz="1800">
                <a:latin typeface="+mn-lt"/>
              </a:defRPr>
            </a:lvl2pPr>
            <a:lvl3pPr marL="914400" indent="0">
              <a:buNone/>
              <a:defRPr sz="1600">
                <a:latin typeface="+mn-lt"/>
              </a:defRPr>
            </a:lvl3pPr>
            <a:lvl4pPr marL="1371600" indent="0">
              <a:buNone/>
              <a:defRPr sz="1400">
                <a:latin typeface="+mn-lt"/>
              </a:defRPr>
            </a:lvl4pPr>
            <a:lvl5pPr marL="1828800" indent="0">
              <a:buNone/>
              <a:defRPr sz="14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0B33DABA-7BF5-1147-BA5E-63B92F220E51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1167493" y="2003804"/>
            <a:ext cx="3173278" cy="522514"/>
          </a:xfrm>
        </p:spPr>
        <p:txBody>
          <a:bodyPr>
            <a:noAutofit/>
          </a:bodyPr>
          <a:lstStyle>
            <a:lvl1pPr marL="0" indent="0">
              <a:buNone/>
              <a:defRPr sz="2400" b="1">
                <a:latin typeface="+mj-lt"/>
              </a:defRPr>
            </a:lvl1pPr>
            <a:lvl2pPr marL="457200" indent="0">
              <a:buNone/>
              <a:defRPr sz="2000" b="1">
                <a:latin typeface="+mj-lt"/>
              </a:defRPr>
            </a:lvl2pPr>
            <a:lvl3pPr marL="914400" indent="0">
              <a:buNone/>
              <a:defRPr sz="1800" b="1">
                <a:latin typeface="+mj-lt"/>
              </a:defRPr>
            </a:lvl3pPr>
            <a:lvl4pPr marL="1371600" indent="0">
              <a:buNone/>
              <a:defRPr sz="1600" b="1">
                <a:latin typeface="+mj-lt"/>
              </a:defRPr>
            </a:lvl4pPr>
            <a:lvl5pPr marL="18288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1B05BEE9-8BC0-EC44-B913-DB6426DF2EA7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4683788" y="2003804"/>
            <a:ext cx="3173278" cy="522514"/>
          </a:xfrm>
        </p:spPr>
        <p:txBody>
          <a:bodyPr>
            <a:noAutofit/>
          </a:bodyPr>
          <a:lstStyle>
            <a:lvl1pPr marL="0" indent="0">
              <a:buNone/>
              <a:defRPr sz="2400" b="1">
                <a:latin typeface="+mj-lt"/>
              </a:defRPr>
            </a:lvl1pPr>
            <a:lvl2pPr marL="457200" indent="0">
              <a:buNone/>
              <a:defRPr sz="2000" b="1">
                <a:latin typeface="+mj-lt"/>
              </a:defRPr>
            </a:lvl2pPr>
            <a:lvl3pPr marL="914400" indent="0">
              <a:buNone/>
              <a:defRPr sz="1800" b="1">
                <a:latin typeface="+mj-lt"/>
              </a:defRPr>
            </a:lvl3pPr>
            <a:lvl4pPr marL="1371600" indent="0">
              <a:buNone/>
              <a:defRPr sz="1600" b="1">
                <a:latin typeface="+mj-lt"/>
              </a:defRPr>
            </a:lvl4pPr>
            <a:lvl5pPr marL="18288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43D62993-A055-DF4F-9286-4FFE3A5C7FD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8200082" y="2526318"/>
            <a:ext cx="3173279" cy="2828613"/>
          </a:xfrm>
        </p:spPr>
        <p:txBody>
          <a:bodyPr>
            <a:noAutofit/>
          </a:bodyPr>
          <a:lstStyle>
            <a:lvl1pPr marL="0" indent="0">
              <a:buNone/>
              <a:defRPr sz="2000">
                <a:latin typeface="+mn-lt"/>
              </a:defRPr>
            </a:lvl1pPr>
            <a:lvl2pPr marL="457200" indent="0">
              <a:buNone/>
              <a:defRPr sz="1800">
                <a:latin typeface="+mn-lt"/>
              </a:defRPr>
            </a:lvl2pPr>
            <a:lvl3pPr marL="914400" indent="0">
              <a:buNone/>
              <a:defRPr sz="1600">
                <a:latin typeface="+mn-lt"/>
              </a:defRPr>
            </a:lvl3pPr>
            <a:lvl4pPr marL="1371600" indent="0">
              <a:buNone/>
              <a:defRPr sz="1400">
                <a:latin typeface="+mn-lt"/>
              </a:defRPr>
            </a:lvl4pPr>
            <a:lvl5pPr marL="1828800" indent="0">
              <a:buNone/>
              <a:defRPr sz="14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A896DA2E-4448-254C-86D1-9E16E63CC6A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00083" y="2003804"/>
            <a:ext cx="3173278" cy="522514"/>
          </a:xfrm>
        </p:spPr>
        <p:txBody>
          <a:bodyPr>
            <a:noAutofit/>
          </a:bodyPr>
          <a:lstStyle>
            <a:lvl1pPr marL="0" indent="0">
              <a:buNone/>
              <a:defRPr sz="2400" b="1">
                <a:latin typeface="+mj-lt"/>
              </a:defRPr>
            </a:lvl1pPr>
            <a:lvl2pPr marL="457200" indent="0">
              <a:buNone/>
              <a:defRPr sz="2000" b="1">
                <a:latin typeface="+mj-lt"/>
              </a:defRPr>
            </a:lvl2pPr>
            <a:lvl3pPr marL="914400" indent="0">
              <a:buNone/>
              <a:defRPr sz="1800" b="1">
                <a:latin typeface="+mj-lt"/>
              </a:defRPr>
            </a:lvl3pPr>
            <a:lvl4pPr marL="1371600" indent="0">
              <a:buNone/>
              <a:defRPr sz="1600" b="1">
                <a:latin typeface="+mj-lt"/>
              </a:defRPr>
            </a:lvl4pPr>
            <a:lvl5pPr marL="18288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1FE54918-A625-F64F-A42E-A427E9B2D48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153276" y="6356350"/>
            <a:ext cx="1657723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>
              <a:defRPr sz="1200">
                <a:solidFill>
                  <a:schemeClr val="accent2"/>
                </a:solidFill>
                <a:latin typeface="+mn-lt"/>
              </a:defRPr>
            </a:lvl1pPr>
          </a:lstStyle>
          <a:p>
            <a:fld id="{294A09A9-5501-47C1-A89A-A340965A2BE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8" name="Picture 17" descr="A logo with white and blue circles&#10;&#10;Description automatically generated">
            <a:extLst>
              <a:ext uri="{FF2B5EF4-FFF2-40B4-BE49-F238E27FC236}">
                <a16:creationId xmlns:a16="http://schemas.microsoft.com/office/drawing/2014/main" id="{4AAD28BE-D401-6A5C-8DBA-803922E3F9D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963407" y="-90683"/>
            <a:ext cx="1218147" cy="1218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697644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4248F2-5264-4601-AA0B-6C092F77F2D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67494" y="1122363"/>
            <a:ext cx="6220278" cy="2387600"/>
          </a:xfrm>
        </p:spPr>
        <p:txBody>
          <a:bodyPr anchor="b">
            <a:noAutofit/>
          </a:bodyPr>
          <a:lstStyle>
            <a:lvl1pPr algn="l">
              <a:defRPr sz="6000" b="1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CFB69D3-5632-4285-A209-9DCA67DA668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67493" y="3602038"/>
            <a:ext cx="6220277" cy="2247219"/>
          </a:xfrm>
        </p:spPr>
        <p:txBody>
          <a:bodyPr>
            <a:noAutofit/>
          </a:bodyPr>
          <a:lstStyle>
            <a:lvl1pPr marL="0" indent="0" algn="l">
              <a:buNone/>
              <a:defRPr sz="280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AC79249-FDC0-364D-A734-AE1DE1605D28}"/>
              </a:ext>
            </a:extLst>
          </p:cNvPr>
          <p:cNvSpPr/>
          <p:nvPr userDrawn="1"/>
        </p:nvSpPr>
        <p:spPr>
          <a:xfrm>
            <a:off x="8264426" y="0"/>
            <a:ext cx="3927574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BC68F289-2744-2F48-893A-3F17911625C8}"/>
              </a:ext>
            </a:extLst>
          </p:cNvPr>
          <p:cNvSpPr/>
          <p:nvPr userDrawn="1"/>
        </p:nvSpPr>
        <p:spPr>
          <a:xfrm>
            <a:off x="0" y="-1"/>
            <a:ext cx="1167493" cy="1167493"/>
          </a:xfrm>
          <a:custGeom>
            <a:avLst/>
            <a:gdLst>
              <a:gd name="connsiteX0" fmla="*/ 0 w 862693"/>
              <a:gd name="connsiteY0" fmla="*/ 0 h 862693"/>
              <a:gd name="connsiteX1" fmla="*/ 862693 w 862693"/>
              <a:gd name="connsiteY1" fmla="*/ 0 h 862693"/>
              <a:gd name="connsiteX2" fmla="*/ 0 w 862693"/>
              <a:gd name="connsiteY2" fmla="*/ 862693 h 862693"/>
              <a:gd name="connsiteX3" fmla="*/ 0 w 862693"/>
              <a:gd name="connsiteY3" fmla="*/ 0 h 8626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2693" h="862693">
                <a:moveTo>
                  <a:pt x="0" y="0"/>
                </a:moveTo>
                <a:lnTo>
                  <a:pt x="862693" y="0"/>
                </a:lnTo>
                <a:cubicBezTo>
                  <a:pt x="862693" y="476453"/>
                  <a:pt x="476452" y="862693"/>
                  <a:pt x="0" y="862693"/>
                </a:cubicBezTo>
                <a:lnTo>
                  <a:pt x="0" y="0"/>
                </a:lnTo>
                <a:close/>
              </a:path>
            </a:pathLst>
          </a:custGeom>
          <a:solidFill>
            <a:srgbClr val="0D4C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pic>
        <p:nvPicPr>
          <p:cNvPr id="7" name="Picture 6" descr="A logo with white and blue circles&#10;&#10;Description automatically generated">
            <a:extLst>
              <a:ext uri="{FF2B5EF4-FFF2-40B4-BE49-F238E27FC236}">
                <a16:creationId xmlns:a16="http://schemas.microsoft.com/office/drawing/2014/main" id="{A68F8B95-ABC4-3D97-C4EC-32D461E9213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963407" y="-90683"/>
            <a:ext cx="1218147" cy="1218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470690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4DABF3-8E7B-44D3-A783-BD78D496DD69}" type="datetime1">
              <a:rPr lang="en-US" smtClean="0"/>
              <a:t>8/30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PE-GCS KICK-OFF MEETING 2024-2025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349857" y="952500"/>
            <a:ext cx="11594493" cy="5170003"/>
          </a:xfrm>
        </p:spPr>
        <p:txBody>
          <a:bodyPr/>
          <a:lstStyle>
            <a:lvl1pPr marL="228600" indent="-228600">
              <a:buFont typeface="Arial" panose="020B0604020202020204" pitchFamily="34" charset="0"/>
              <a:buChar char="●"/>
              <a:defRPr/>
            </a:lvl1pPr>
            <a:lvl2pPr marL="685800" indent="-228600">
              <a:buFont typeface="Calibri" panose="020F0502020204030204" pitchFamily="34" charset="0"/>
              <a:buChar char="•"/>
              <a:defRPr/>
            </a:lvl2pPr>
            <a:lvl3pPr marL="1143000" indent="-228600">
              <a:buFont typeface="Calibri" panose="020F0502020204030204" pitchFamily="34" charset="0"/>
              <a:buChar char="•"/>
              <a:defRPr/>
            </a:lvl3pPr>
            <a:lvl4pPr marL="1600200" indent="-228600">
              <a:buFont typeface="Calibri" panose="020F0502020204030204" pitchFamily="34" charset="0"/>
              <a:buChar char="•"/>
              <a:defRPr/>
            </a:lvl4pPr>
            <a:lvl5pPr marL="2057400" indent="-228600">
              <a:buFont typeface="Calibri" panose="020F0502020204030204" pitchFamily="34" charset="0"/>
              <a:buChar char="•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457829" y="6356350"/>
            <a:ext cx="477079" cy="365125"/>
          </a:xfrm>
        </p:spPr>
        <p:txBody>
          <a:bodyPr/>
          <a:lstStyle/>
          <a:p>
            <a:fld id="{E414F879-D1BB-4B4D-8301-0FCCA6BB67F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MainTitleBox">
            <a:extLst>
              <a:ext uri="{FF2B5EF4-FFF2-40B4-BE49-F238E27FC236}">
                <a16:creationId xmlns:a16="http://schemas.microsoft.com/office/drawing/2014/main" id="{734A0555-FA76-4BBA-81B0-8ABF4C0ABA0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21920" y="91439"/>
            <a:ext cx="11948160" cy="64405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423192328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BCBC47-5364-49ED-994E-DCD97906256B}" type="datetime1">
              <a:rPr lang="en-US" smtClean="0"/>
              <a:t>8/30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PE-GCS KICK-OFF MEETING 2024-2025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457829" y="6356350"/>
            <a:ext cx="477079" cy="365125"/>
          </a:xfrm>
        </p:spPr>
        <p:txBody>
          <a:bodyPr/>
          <a:lstStyle/>
          <a:p>
            <a:fld id="{E414F879-D1BB-4B4D-8301-0FCCA6BB67F4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MainTitleBox">
            <a:extLst>
              <a:ext uri="{FF2B5EF4-FFF2-40B4-BE49-F238E27FC236}">
                <a16:creationId xmlns:a16="http://schemas.microsoft.com/office/drawing/2014/main" id="{E9522D89-1C83-473E-A124-F0DF34FED430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21920" y="91439"/>
            <a:ext cx="11948160" cy="64405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32275289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D97974-B93C-4C96-B3F6-F69E3D6DE6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67492" y="381000"/>
            <a:ext cx="9779183" cy="1325563"/>
          </a:xfrm>
        </p:spPr>
        <p:txBody>
          <a:bodyPr anchor="b">
            <a:noAutofit/>
          </a:bodyPr>
          <a:lstStyle>
            <a:lvl1pPr>
              <a:defRPr sz="4800" b="1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A6FC6F2-80B4-49A7-9448-33FE2DF0E96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67493" y="2017467"/>
            <a:ext cx="9779182" cy="3366815"/>
          </a:xfrm>
        </p:spPr>
        <p:txBody>
          <a:bodyPr>
            <a:noAutofit/>
          </a:bodyPr>
          <a:lstStyle>
            <a:lvl1pPr marL="0" indent="0">
              <a:buNone/>
              <a:defRPr>
                <a:latin typeface="+mn-lt"/>
              </a:defRPr>
            </a:lvl1pPr>
            <a:lvl2pPr marL="457200" indent="0">
              <a:buNone/>
              <a:defRPr>
                <a:latin typeface="+mn-lt"/>
              </a:defRPr>
            </a:lvl2pPr>
            <a:lvl3pPr marL="914400" indent="0">
              <a:buNone/>
              <a:defRPr>
                <a:latin typeface="+mn-lt"/>
              </a:defRPr>
            </a:lvl3pPr>
            <a:lvl4pPr marL="1371600" indent="0">
              <a:buNone/>
              <a:defRPr>
                <a:latin typeface="+mn-lt"/>
              </a:defRPr>
            </a:lvl4pPr>
            <a:lvl5pPr marL="1828800" indent="0">
              <a:buNone/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6A7F6A3F-E1DD-A246-9A6D-5F9B18BA2588}"/>
              </a:ext>
            </a:extLst>
          </p:cNvPr>
          <p:cNvSpPr/>
          <p:nvPr userDrawn="1"/>
        </p:nvSpPr>
        <p:spPr>
          <a:xfrm flipH="1">
            <a:off x="8580896" y="1"/>
            <a:ext cx="3611104" cy="3611104"/>
          </a:xfrm>
          <a:custGeom>
            <a:avLst/>
            <a:gdLst>
              <a:gd name="connsiteX0" fmla="*/ 0 w 1167493"/>
              <a:gd name="connsiteY0" fmla="*/ 0 h 1167493"/>
              <a:gd name="connsiteX1" fmla="*/ 1167493 w 1167493"/>
              <a:gd name="connsiteY1" fmla="*/ 0 h 1167493"/>
              <a:gd name="connsiteX2" fmla="*/ 0 w 1167493"/>
              <a:gd name="connsiteY2" fmla="*/ 1167493 h 1167493"/>
              <a:gd name="connsiteX3" fmla="*/ 0 w 1167493"/>
              <a:gd name="connsiteY3" fmla="*/ 0 h 11674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67493" h="1167493">
                <a:moveTo>
                  <a:pt x="0" y="0"/>
                </a:moveTo>
                <a:lnTo>
                  <a:pt x="1167493" y="0"/>
                </a:lnTo>
                <a:cubicBezTo>
                  <a:pt x="522704" y="0"/>
                  <a:pt x="0" y="522704"/>
                  <a:pt x="0" y="1167493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5" name="Freeform 4">
            <a:extLst>
              <a:ext uri="{FF2B5EF4-FFF2-40B4-BE49-F238E27FC236}">
                <a16:creationId xmlns:a16="http://schemas.microsoft.com/office/drawing/2014/main" id="{055FD0FC-C8FF-6741-A364-A29CDC6F9495}"/>
              </a:ext>
            </a:extLst>
          </p:cNvPr>
          <p:cNvSpPr/>
          <p:nvPr userDrawn="1"/>
        </p:nvSpPr>
        <p:spPr>
          <a:xfrm flipH="1">
            <a:off x="8580896" y="3246896"/>
            <a:ext cx="3611104" cy="3611104"/>
          </a:xfrm>
          <a:custGeom>
            <a:avLst/>
            <a:gdLst>
              <a:gd name="connsiteX0" fmla="*/ 0 w 1167493"/>
              <a:gd name="connsiteY0" fmla="*/ 0 h 1167493"/>
              <a:gd name="connsiteX1" fmla="*/ 1167493 w 1167493"/>
              <a:gd name="connsiteY1" fmla="*/ 1167493 h 1167493"/>
              <a:gd name="connsiteX2" fmla="*/ 0 w 1167493"/>
              <a:gd name="connsiteY2" fmla="*/ 1167493 h 1167493"/>
              <a:gd name="connsiteX3" fmla="*/ 0 w 1167493"/>
              <a:gd name="connsiteY3" fmla="*/ 0 h 11674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67493" h="1167493">
                <a:moveTo>
                  <a:pt x="0" y="0"/>
                </a:moveTo>
                <a:cubicBezTo>
                  <a:pt x="0" y="644789"/>
                  <a:pt x="522704" y="1167493"/>
                  <a:pt x="1167493" y="1167493"/>
                </a:cubicBezTo>
                <a:lnTo>
                  <a:pt x="0" y="116749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latin typeface="+mn-lt"/>
            </a:endParaRP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7536C149-3EFE-A94E-902D-57CED00B2C0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1200">
                <a:solidFill>
                  <a:schemeClr val="accent3"/>
                </a:solidFill>
                <a:latin typeface="+mn-lt"/>
              </a:defRPr>
            </a:lvl1pPr>
          </a:lstStyle>
          <a:p>
            <a:fld id="{B254E00F-0F1A-4813-BCEA-8E9619388A1A}" type="datetime1">
              <a:rPr lang="en-US" smtClean="0"/>
              <a:t>8/30/2024</a:t>
            </a:fld>
            <a:endParaRPr lang="en-US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53CA1E78-F17D-F34D-9F81-0DBF44F378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defRPr sz="120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en-US"/>
              <a:t>SPE-GCS KICK-OFF MEETING 2024-2025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1FE54918-A625-F64F-A42E-A427E9B2D48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153276" y="6356350"/>
            <a:ext cx="1657723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>
              <a:defRPr sz="1200">
                <a:solidFill>
                  <a:schemeClr val="accent2"/>
                </a:solidFill>
                <a:latin typeface="+mn-lt"/>
              </a:defRPr>
            </a:lvl1pPr>
          </a:lstStyle>
          <a:p>
            <a:fld id="{294A09A9-5501-47C1-A89A-A340965A2BE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6" name="Picture 15" descr="A logo with white and blue circles&#10;&#10;Description automatically generated">
            <a:extLst>
              <a:ext uri="{FF2B5EF4-FFF2-40B4-BE49-F238E27FC236}">
                <a16:creationId xmlns:a16="http://schemas.microsoft.com/office/drawing/2014/main" id="{4B83BD06-953E-878F-6CA7-8FCF7D9741D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963407" y="-90683"/>
            <a:ext cx="1218147" cy="1218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22712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2A62587F-7496-384A-AF40-18FC8CF0709D}"/>
              </a:ext>
            </a:extLst>
          </p:cNvPr>
          <p:cNvSpPr/>
          <p:nvPr userDrawn="1"/>
        </p:nvSpPr>
        <p:spPr>
          <a:xfrm>
            <a:off x="0" y="2286002"/>
            <a:ext cx="12208822" cy="4572000"/>
          </a:xfrm>
          <a:prstGeom prst="rect">
            <a:avLst/>
          </a:prstGeom>
          <a:solidFill>
            <a:srgbClr val="0D4C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5E932F0D-7FC3-634B-932C-3625C16C8D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67492" y="381000"/>
            <a:ext cx="9779183" cy="1325563"/>
          </a:xfrm>
        </p:spPr>
        <p:txBody>
          <a:bodyPr anchor="b">
            <a:noAutofit/>
          </a:bodyPr>
          <a:lstStyle>
            <a:lvl1pPr>
              <a:defRPr sz="4800" b="1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65DE34-CDB7-41F7-A95A-592B99558C6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67492" y="2653167"/>
            <a:ext cx="9779183" cy="3436483"/>
          </a:xfrm>
        </p:spPr>
        <p:txBody>
          <a:bodyPr>
            <a:noAutofit/>
          </a:bodyPr>
          <a:lstStyle>
            <a:lvl1pPr marL="0" indent="0">
              <a:lnSpc>
                <a:spcPct val="150000"/>
              </a:lnSpc>
              <a:buNone/>
              <a:defRPr sz="240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E95D4F5-F69B-42F6-8A9D-330F696E14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accent2"/>
                </a:solidFill>
                <a:latin typeface="+mn-lt"/>
              </a:defRPr>
            </a:lvl1pPr>
          </a:lstStyle>
          <a:p>
            <a:fld id="{5F8DE2DD-5D37-427A-87BE-4F4E7C26B8EB}" type="datetime1">
              <a:rPr lang="en-US" smtClean="0"/>
              <a:t>8/30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A79A23A-2238-4904-8692-9F2DAE8B8F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/>
              <a:t>SPE-GCS KICK-OFF MEETING 2024-2025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B69FC35-DDC8-45FB-8ACB-21C15F57C1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06318" y="6356350"/>
            <a:ext cx="1604682" cy="365125"/>
          </a:xfrm>
        </p:spPr>
        <p:txBody>
          <a:bodyPr>
            <a:noAutofit/>
          </a:bodyPr>
          <a:lstStyle>
            <a:lvl1pPr>
              <a:defRPr>
                <a:solidFill>
                  <a:schemeClr val="accent3"/>
                </a:solidFill>
                <a:latin typeface="+mn-lt"/>
              </a:defRPr>
            </a:lvl1pPr>
          </a:lstStyle>
          <a:p>
            <a:fld id="{294A09A9-5501-47C1-A89A-A340965A2BE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 descr="A logo with white and blue circles&#10;&#10;Description automatically generated">
            <a:extLst>
              <a:ext uri="{FF2B5EF4-FFF2-40B4-BE49-F238E27FC236}">
                <a16:creationId xmlns:a16="http://schemas.microsoft.com/office/drawing/2014/main" id="{B08161D2-B8BD-3684-3CF1-3B23632E87C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963407" y="-90683"/>
            <a:ext cx="1218147" cy="1218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26350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eform 22">
            <a:extLst>
              <a:ext uri="{FF2B5EF4-FFF2-40B4-BE49-F238E27FC236}">
                <a16:creationId xmlns:a16="http://schemas.microsoft.com/office/drawing/2014/main" id="{067EACEC-C2DD-EA42-8504-176673AD1F20}"/>
              </a:ext>
            </a:extLst>
          </p:cNvPr>
          <p:cNvSpPr/>
          <p:nvPr userDrawn="1"/>
        </p:nvSpPr>
        <p:spPr>
          <a:xfrm>
            <a:off x="0" y="0"/>
            <a:ext cx="8025490" cy="6858000"/>
          </a:xfrm>
          <a:custGeom>
            <a:avLst/>
            <a:gdLst>
              <a:gd name="connsiteX0" fmla="*/ 0 w 8025490"/>
              <a:gd name="connsiteY0" fmla="*/ 0 h 6858000"/>
              <a:gd name="connsiteX1" fmla="*/ 4596490 w 8025490"/>
              <a:gd name="connsiteY1" fmla="*/ 0 h 6858000"/>
              <a:gd name="connsiteX2" fmla="*/ 8025490 w 8025490"/>
              <a:gd name="connsiteY2" fmla="*/ 3429000 h 6858000"/>
              <a:gd name="connsiteX3" fmla="*/ 4596490 w 8025490"/>
              <a:gd name="connsiteY3" fmla="*/ 6858000 h 6858000"/>
              <a:gd name="connsiteX4" fmla="*/ 0 w 802549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25490" h="6858000">
                <a:moveTo>
                  <a:pt x="0" y="0"/>
                </a:moveTo>
                <a:lnTo>
                  <a:pt x="4596490" y="0"/>
                </a:lnTo>
                <a:cubicBezTo>
                  <a:pt x="6490274" y="0"/>
                  <a:pt x="8025490" y="1535216"/>
                  <a:pt x="8025490" y="3429000"/>
                </a:cubicBezTo>
                <a:cubicBezTo>
                  <a:pt x="8025490" y="5322784"/>
                  <a:pt x="6490274" y="6858000"/>
                  <a:pt x="4596490" y="6858000"/>
                </a:cubicBezTo>
                <a:lnTo>
                  <a:pt x="0" y="6858000"/>
                </a:lnTo>
                <a:close/>
              </a:path>
            </a:pathLst>
          </a:custGeom>
          <a:solidFill>
            <a:srgbClr val="0D4C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4248F2-5264-4601-AA0B-6C092F77F2D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67494" y="1059400"/>
            <a:ext cx="6245912" cy="2387600"/>
          </a:xfrm>
        </p:spPr>
        <p:txBody>
          <a:bodyPr anchor="b">
            <a:noAutofit/>
          </a:bodyPr>
          <a:lstStyle>
            <a:lvl1pPr algn="l"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CFB69D3-5632-4285-A209-9DCA67DA668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67494" y="3539075"/>
            <a:ext cx="6245912" cy="1406101"/>
          </a:xfrm>
        </p:spPr>
        <p:txBody>
          <a:bodyPr>
            <a:noAutofit/>
          </a:bodyPr>
          <a:lstStyle>
            <a:lvl1pPr marL="0" indent="0" algn="l">
              <a:buNone/>
              <a:defRPr sz="32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5" name="Picture 4" descr="A logo with white and blue circles&#10;&#10;Description automatically generated">
            <a:extLst>
              <a:ext uri="{FF2B5EF4-FFF2-40B4-BE49-F238E27FC236}">
                <a16:creationId xmlns:a16="http://schemas.microsoft.com/office/drawing/2014/main" id="{D74B63CF-6872-09A3-51C4-F7C35E69B35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963407" y="-90683"/>
            <a:ext cx="1218147" cy="1218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652940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D97974-B93C-4C96-B3F6-F69E3D6DE6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67492" y="381000"/>
            <a:ext cx="9779183" cy="1325563"/>
          </a:xfrm>
        </p:spPr>
        <p:txBody>
          <a:bodyPr anchor="b">
            <a:noAutofit/>
          </a:bodyPr>
          <a:lstStyle>
            <a:lvl1pPr>
              <a:defRPr sz="4800" b="1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A6FC6F2-80B4-49A7-9448-33FE2DF0E96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67493" y="2087561"/>
            <a:ext cx="9779182" cy="3366815"/>
          </a:xfrm>
        </p:spPr>
        <p:txBody>
          <a:bodyPr>
            <a:noAutofit/>
          </a:bodyPr>
          <a:lstStyle>
            <a:lvl1pPr marL="0" indent="0">
              <a:buNone/>
              <a:defRPr>
                <a:latin typeface="+mn-lt"/>
              </a:defRPr>
            </a:lvl1pPr>
            <a:lvl2pPr marL="457200" indent="0">
              <a:buNone/>
              <a:defRPr>
                <a:latin typeface="+mn-lt"/>
              </a:defRPr>
            </a:lvl2pPr>
            <a:lvl3pPr marL="914400" indent="0">
              <a:buNone/>
              <a:defRPr>
                <a:latin typeface="+mn-lt"/>
              </a:defRPr>
            </a:lvl3pPr>
            <a:lvl4pPr marL="1371600" indent="0">
              <a:buNone/>
              <a:defRPr>
                <a:latin typeface="+mn-lt"/>
              </a:defRPr>
            </a:lvl4pPr>
            <a:lvl5pPr marL="1828800" indent="0">
              <a:buNone/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6A7F6A3F-E1DD-A246-9A6D-5F9B18BA2588}"/>
              </a:ext>
            </a:extLst>
          </p:cNvPr>
          <p:cNvSpPr/>
          <p:nvPr userDrawn="1"/>
        </p:nvSpPr>
        <p:spPr>
          <a:xfrm flipH="1">
            <a:off x="8580896" y="1"/>
            <a:ext cx="3611104" cy="3611104"/>
          </a:xfrm>
          <a:custGeom>
            <a:avLst/>
            <a:gdLst>
              <a:gd name="connsiteX0" fmla="*/ 0 w 1167493"/>
              <a:gd name="connsiteY0" fmla="*/ 0 h 1167493"/>
              <a:gd name="connsiteX1" fmla="*/ 1167493 w 1167493"/>
              <a:gd name="connsiteY1" fmla="*/ 0 h 1167493"/>
              <a:gd name="connsiteX2" fmla="*/ 0 w 1167493"/>
              <a:gd name="connsiteY2" fmla="*/ 1167493 h 1167493"/>
              <a:gd name="connsiteX3" fmla="*/ 0 w 1167493"/>
              <a:gd name="connsiteY3" fmla="*/ 0 h 11674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67493" h="1167493">
                <a:moveTo>
                  <a:pt x="0" y="0"/>
                </a:moveTo>
                <a:lnTo>
                  <a:pt x="1167493" y="0"/>
                </a:lnTo>
                <a:cubicBezTo>
                  <a:pt x="522704" y="0"/>
                  <a:pt x="0" y="522704"/>
                  <a:pt x="0" y="1167493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5" name="Freeform 4">
            <a:extLst>
              <a:ext uri="{FF2B5EF4-FFF2-40B4-BE49-F238E27FC236}">
                <a16:creationId xmlns:a16="http://schemas.microsoft.com/office/drawing/2014/main" id="{055FD0FC-C8FF-6741-A364-A29CDC6F9495}"/>
              </a:ext>
            </a:extLst>
          </p:cNvPr>
          <p:cNvSpPr/>
          <p:nvPr userDrawn="1"/>
        </p:nvSpPr>
        <p:spPr>
          <a:xfrm rot="5400000" flipH="1">
            <a:off x="1" y="3246896"/>
            <a:ext cx="3611104" cy="3611104"/>
          </a:xfrm>
          <a:custGeom>
            <a:avLst/>
            <a:gdLst>
              <a:gd name="connsiteX0" fmla="*/ 0 w 1167493"/>
              <a:gd name="connsiteY0" fmla="*/ 0 h 1167493"/>
              <a:gd name="connsiteX1" fmla="*/ 1167493 w 1167493"/>
              <a:gd name="connsiteY1" fmla="*/ 1167493 h 1167493"/>
              <a:gd name="connsiteX2" fmla="*/ 0 w 1167493"/>
              <a:gd name="connsiteY2" fmla="*/ 1167493 h 1167493"/>
              <a:gd name="connsiteX3" fmla="*/ 0 w 1167493"/>
              <a:gd name="connsiteY3" fmla="*/ 0 h 11674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67493" h="1167493">
                <a:moveTo>
                  <a:pt x="0" y="0"/>
                </a:moveTo>
                <a:cubicBezTo>
                  <a:pt x="0" y="644789"/>
                  <a:pt x="522704" y="1167493"/>
                  <a:pt x="1167493" y="1167493"/>
                </a:cubicBezTo>
                <a:lnTo>
                  <a:pt x="0" y="116749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7536C149-3EFE-A94E-902D-57CED00B2C0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0" y="6356350"/>
            <a:ext cx="1701018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1200">
                <a:solidFill>
                  <a:schemeClr val="accent2"/>
                </a:solidFill>
                <a:latin typeface="+mn-lt"/>
              </a:defRPr>
            </a:lvl1pPr>
          </a:lstStyle>
          <a:p>
            <a:fld id="{634C97B5-6AD5-4625-BF20-67FA2BC37F58}" type="datetime1">
              <a:rPr lang="en-US" smtClean="0"/>
              <a:t>8/30/2024</a:t>
            </a:fld>
            <a:endParaRPr lang="en-US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53CA1E78-F17D-F34D-9F81-0DBF44F378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defRPr sz="120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en-US"/>
              <a:t>SPE-GCS KICK-OFF MEETING 2024-2025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1FE54918-A625-F64F-A42E-A427E9B2D48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153276" y="6356350"/>
            <a:ext cx="1657723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>
              <a:defRPr sz="1200">
                <a:solidFill>
                  <a:schemeClr val="accent3"/>
                </a:solidFill>
                <a:latin typeface="+mn-lt"/>
              </a:defRPr>
            </a:lvl1pPr>
          </a:lstStyle>
          <a:p>
            <a:fld id="{294A09A9-5501-47C1-A89A-A340965A2BE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 descr="A logo with white and blue circles&#10;&#10;Description automatically generated">
            <a:extLst>
              <a:ext uri="{FF2B5EF4-FFF2-40B4-BE49-F238E27FC236}">
                <a16:creationId xmlns:a16="http://schemas.microsoft.com/office/drawing/2014/main" id="{4784B8BB-09BC-115E-8DF8-A6D87310488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963407" y="-90683"/>
            <a:ext cx="1218147" cy="1218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7818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hart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D97974-B93C-4C96-B3F6-F69E3D6DE6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67492" y="381000"/>
            <a:ext cx="9779183" cy="1325563"/>
          </a:xfrm>
        </p:spPr>
        <p:txBody>
          <a:bodyPr anchor="b">
            <a:noAutofit/>
          </a:bodyPr>
          <a:lstStyle>
            <a:lvl1pPr>
              <a:defRPr sz="4800" b="1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A6FC6F2-80B4-49A7-9448-33FE2DF0E96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67493" y="2087563"/>
            <a:ext cx="9779182" cy="3366813"/>
          </a:xfrm>
        </p:spPr>
        <p:txBody>
          <a:bodyPr>
            <a:noAutofit/>
          </a:bodyPr>
          <a:lstStyle>
            <a:lvl1pPr marL="0" indent="0">
              <a:buNone/>
              <a:defRPr>
                <a:latin typeface="+mn-lt"/>
              </a:defRPr>
            </a:lvl1pPr>
            <a:lvl2pPr marL="457200" indent="0">
              <a:buNone/>
              <a:defRPr>
                <a:latin typeface="+mn-lt"/>
              </a:defRPr>
            </a:lvl2pPr>
            <a:lvl3pPr marL="914400" indent="0">
              <a:buNone/>
              <a:defRPr>
                <a:latin typeface="+mn-lt"/>
              </a:defRPr>
            </a:lvl3pPr>
            <a:lvl4pPr marL="1371600" indent="0">
              <a:buNone/>
              <a:defRPr>
                <a:latin typeface="+mn-lt"/>
              </a:defRPr>
            </a:lvl4pPr>
            <a:lvl5pPr marL="1828800" indent="0">
              <a:buNone/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7536C149-3EFE-A94E-902D-57CED00B2C0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0" y="6356350"/>
            <a:ext cx="1701018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1200">
                <a:solidFill>
                  <a:schemeClr val="accent3"/>
                </a:solidFill>
                <a:latin typeface="+mn-lt"/>
              </a:defRPr>
            </a:lvl1pPr>
          </a:lstStyle>
          <a:p>
            <a:fld id="{12350D00-5F2F-46C1-8B85-64F79CBAA2F9}" type="datetime1">
              <a:rPr lang="en-US" smtClean="0"/>
              <a:t>8/30/2024</a:t>
            </a:fld>
            <a:endParaRPr lang="en-US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53CA1E78-F17D-F34D-9F81-0DBF44F378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defRPr sz="120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en-US"/>
              <a:t>SPE-GCS KICK-OFF MEETING 2024-2025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1FE54918-A625-F64F-A42E-A427E9B2D48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153276" y="6356350"/>
            <a:ext cx="1657723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>
              <a:defRPr sz="1200">
                <a:solidFill>
                  <a:schemeClr val="accent3"/>
                </a:solidFill>
                <a:latin typeface="+mn-lt"/>
              </a:defRPr>
            </a:lvl1pPr>
          </a:lstStyle>
          <a:p>
            <a:fld id="{294A09A9-5501-47C1-A89A-A340965A2BE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Picture 4" descr="A logo with white and blue circles&#10;&#10;Description automatically generated">
            <a:extLst>
              <a:ext uri="{FF2B5EF4-FFF2-40B4-BE49-F238E27FC236}">
                <a16:creationId xmlns:a16="http://schemas.microsoft.com/office/drawing/2014/main" id="{E5E6FAFA-64AC-CEAC-86CE-506EA77A22F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963407" y="-90683"/>
            <a:ext cx="1218147" cy="1218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09451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5ED18-7A07-47F1-8056-CD86B076AF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98721" y="1684338"/>
            <a:ext cx="8594558" cy="2810460"/>
          </a:xfrm>
        </p:spPr>
        <p:txBody>
          <a:bodyPr>
            <a:noAutofit/>
          </a:bodyPr>
          <a:lstStyle>
            <a:lvl1pPr algn="ctr">
              <a:lnSpc>
                <a:spcPct val="100000"/>
              </a:lnSpc>
              <a:defRPr sz="46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C91C146-F9A8-9A4C-9508-8590923B8D9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0" y="519405"/>
            <a:ext cx="1364297" cy="1094521"/>
          </a:xfrm>
        </p:spPr>
        <p:txBody>
          <a:bodyPr>
            <a:noAutofit/>
          </a:bodyPr>
          <a:lstStyle>
            <a:lvl1pPr marL="0" indent="0" algn="ctr">
              <a:buNone/>
              <a:defRPr sz="23900" b="1">
                <a:solidFill>
                  <a:schemeClr val="accent1">
                    <a:lumMod val="75000"/>
                  </a:schemeClr>
                </a:solidFill>
                <a:latin typeface="Tenorite" pitchFamily="2" charset="0"/>
              </a:defRPr>
            </a:lvl1pPr>
            <a:lvl2pPr marL="457200" indent="0">
              <a:buNone/>
              <a:defRPr b="1">
                <a:solidFill>
                  <a:schemeClr val="bg1"/>
                </a:solidFill>
                <a:latin typeface="Tenorite" pitchFamily="2" charset="0"/>
              </a:defRPr>
            </a:lvl2pPr>
            <a:lvl3pPr marL="914400" indent="0">
              <a:buNone/>
              <a:defRPr b="1">
                <a:solidFill>
                  <a:schemeClr val="bg1"/>
                </a:solidFill>
                <a:latin typeface="Tenorite" pitchFamily="2" charset="0"/>
              </a:defRPr>
            </a:lvl3pPr>
            <a:lvl4pPr marL="1371600" indent="0">
              <a:buNone/>
              <a:defRPr b="1">
                <a:solidFill>
                  <a:schemeClr val="bg1"/>
                </a:solidFill>
                <a:latin typeface="Tenorite" pitchFamily="2" charset="0"/>
              </a:defRPr>
            </a:lvl4pPr>
            <a:lvl5pPr marL="1828800" indent="0">
              <a:buNone/>
              <a:defRPr b="1">
                <a:solidFill>
                  <a:schemeClr val="bg1"/>
                </a:solidFill>
                <a:latin typeface="Tenorite" pitchFamily="2" charset="0"/>
              </a:defRPr>
            </a:lvl5pPr>
          </a:lstStyle>
          <a:p>
            <a:pPr lvl="0"/>
            <a:r>
              <a:rPr lang="en-US" dirty="0"/>
              <a:t>“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22D6C2B-78AC-DD47-9289-067C968B06C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81813" y="4494213"/>
            <a:ext cx="3511550" cy="679450"/>
          </a:xfrm>
        </p:spPr>
        <p:txBody>
          <a:bodyPr>
            <a:noAutofit/>
          </a:bodyPr>
          <a:lstStyle>
            <a:lvl1pPr marL="0" indent="0" algn="r">
              <a:buNone/>
              <a:defRPr sz="2000">
                <a:solidFill>
                  <a:schemeClr val="tx1"/>
                </a:solidFill>
                <a:latin typeface="+mn-lt"/>
              </a:defRPr>
            </a:lvl1pPr>
            <a:lvl2pPr marL="457200" indent="0" algn="r">
              <a:buNone/>
              <a:defRPr sz="1800">
                <a:solidFill>
                  <a:schemeClr val="bg1"/>
                </a:solidFill>
                <a:latin typeface="Tenorite" pitchFamily="2" charset="0"/>
              </a:defRPr>
            </a:lvl2pPr>
            <a:lvl3pPr marL="914400" indent="0" algn="r">
              <a:buNone/>
              <a:defRPr sz="1600">
                <a:solidFill>
                  <a:schemeClr val="bg1"/>
                </a:solidFill>
                <a:latin typeface="Tenorite" pitchFamily="2" charset="0"/>
              </a:defRPr>
            </a:lvl3pPr>
            <a:lvl4pPr marL="1371600" indent="0" algn="r">
              <a:buNone/>
              <a:defRPr sz="1400">
                <a:solidFill>
                  <a:schemeClr val="bg1"/>
                </a:solidFill>
                <a:latin typeface="Tenorite" pitchFamily="2" charset="0"/>
              </a:defRPr>
            </a:lvl4pPr>
            <a:lvl5pPr marL="1828800" indent="0" algn="r">
              <a:buNone/>
              <a:defRPr sz="1400">
                <a:solidFill>
                  <a:schemeClr val="bg1"/>
                </a:solidFill>
                <a:latin typeface="Tenorite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612193CD-03AD-D74D-A5CD-747A9B53F49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609104" y="3399692"/>
            <a:ext cx="1364297" cy="1094521"/>
          </a:xfrm>
        </p:spPr>
        <p:txBody>
          <a:bodyPr>
            <a:noAutofit/>
          </a:bodyPr>
          <a:lstStyle>
            <a:lvl1pPr marL="0" indent="0" algn="ctr">
              <a:buNone/>
              <a:defRPr sz="23900" b="1">
                <a:solidFill>
                  <a:schemeClr val="accent1">
                    <a:lumMod val="75000"/>
                  </a:schemeClr>
                </a:solidFill>
                <a:latin typeface="Tenorite" pitchFamily="2" charset="0"/>
              </a:defRPr>
            </a:lvl1pPr>
            <a:lvl2pPr marL="457200" indent="0">
              <a:buNone/>
              <a:defRPr b="1">
                <a:solidFill>
                  <a:schemeClr val="bg1"/>
                </a:solidFill>
                <a:latin typeface="Tenorite" pitchFamily="2" charset="0"/>
              </a:defRPr>
            </a:lvl2pPr>
            <a:lvl3pPr marL="914400" indent="0">
              <a:buNone/>
              <a:defRPr b="1">
                <a:solidFill>
                  <a:schemeClr val="bg1"/>
                </a:solidFill>
                <a:latin typeface="Tenorite" pitchFamily="2" charset="0"/>
              </a:defRPr>
            </a:lvl3pPr>
            <a:lvl4pPr marL="1371600" indent="0">
              <a:buNone/>
              <a:defRPr b="1">
                <a:solidFill>
                  <a:schemeClr val="bg1"/>
                </a:solidFill>
                <a:latin typeface="Tenorite" pitchFamily="2" charset="0"/>
              </a:defRPr>
            </a:lvl4pPr>
            <a:lvl5pPr marL="1828800" indent="0">
              <a:buNone/>
              <a:defRPr b="1">
                <a:solidFill>
                  <a:schemeClr val="bg1"/>
                </a:solidFill>
                <a:latin typeface="Tenorite" pitchFamily="2" charset="0"/>
              </a:defRPr>
            </a:lvl5pPr>
          </a:lstStyle>
          <a:p>
            <a:pPr lvl="0"/>
            <a:r>
              <a:rPr lang="en-US" dirty="0"/>
              <a:t>”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0C71211-4520-46A1-9487-4AE49C3239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accent2"/>
                </a:solidFill>
                <a:latin typeface="+mn-lt"/>
              </a:defRPr>
            </a:lvl1pPr>
          </a:lstStyle>
          <a:p>
            <a:fld id="{28F6F23B-6101-4375-ACC3-94709EA6CB98}" type="datetime1">
              <a:rPr lang="en-US" smtClean="0"/>
              <a:t>8/30/2024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6356206-85FD-45F5-A1F7-128DB34C86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/>
              <a:t>SPE-GCS KICK-OFF MEETING 2024-2025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203763F-C8CD-4BCB-9A0A-B10F000BC1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accent2"/>
                </a:solidFill>
                <a:latin typeface="+mn-lt"/>
              </a:defRPr>
            </a:lvl1pPr>
          </a:lstStyle>
          <a:p>
            <a:fld id="{294A09A9-5501-47C1-A89A-A340965A2BE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 descr="A logo with white and blue circles&#10;&#10;Description automatically generated">
            <a:extLst>
              <a:ext uri="{FF2B5EF4-FFF2-40B4-BE49-F238E27FC236}">
                <a16:creationId xmlns:a16="http://schemas.microsoft.com/office/drawing/2014/main" id="{683C1BF0-77B5-DF71-D69C-D7DB0D21F58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963407" y="-90683"/>
            <a:ext cx="1218147" cy="1218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69475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29">
            <a:extLst>
              <a:ext uri="{FF2B5EF4-FFF2-40B4-BE49-F238E27FC236}">
                <a16:creationId xmlns:a16="http://schemas.microsoft.com/office/drawing/2014/main" id="{28C225EC-F6EF-1144-834A-F0B91974AA41}"/>
              </a:ext>
            </a:extLst>
          </p:cNvPr>
          <p:cNvSpPr/>
          <p:nvPr userDrawn="1"/>
        </p:nvSpPr>
        <p:spPr>
          <a:xfrm>
            <a:off x="0" y="-1664"/>
            <a:ext cx="9857012" cy="685966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1E40CEAF-B1BB-174E-A798-3BA60D9C04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0430" y="381000"/>
            <a:ext cx="8401624" cy="1325563"/>
          </a:xfrm>
        </p:spPr>
        <p:txBody>
          <a:bodyPr lIns="0" anchor="b">
            <a:noAutofit/>
          </a:bodyPr>
          <a:lstStyle>
            <a:lvl1pPr>
              <a:defRPr sz="4800" b="1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Picture Placeholder 23">
            <a:extLst>
              <a:ext uri="{FF2B5EF4-FFF2-40B4-BE49-F238E27FC236}">
                <a16:creationId xmlns:a16="http://schemas.microsoft.com/office/drawing/2014/main" id="{5E48B363-63E8-4F17-842B-53AD935A652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50429" y="2227758"/>
            <a:ext cx="1200374" cy="1201242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Text Placeholder 28">
            <a:extLst>
              <a:ext uri="{FF2B5EF4-FFF2-40B4-BE49-F238E27FC236}">
                <a16:creationId xmlns:a16="http://schemas.microsoft.com/office/drawing/2014/main" id="{CC3A7E03-4F06-4380-90A1-845651EEA3C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123351" y="2426400"/>
            <a:ext cx="2281237" cy="347662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1" spc="2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11" name="Text Placeholder 28">
            <a:extLst>
              <a:ext uri="{FF2B5EF4-FFF2-40B4-BE49-F238E27FC236}">
                <a16:creationId xmlns:a16="http://schemas.microsoft.com/office/drawing/2014/main" id="{31AF5791-727B-438A-A7EF-5D132167C89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123350" y="2811646"/>
            <a:ext cx="2281237" cy="347662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0" spc="2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7" name="Picture Placeholder 23">
            <a:extLst>
              <a:ext uri="{FF2B5EF4-FFF2-40B4-BE49-F238E27FC236}">
                <a16:creationId xmlns:a16="http://schemas.microsoft.com/office/drawing/2014/main" id="{9ABA5222-6FD6-405B-8AC8-18022C36590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95813" y="2227758"/>
            <a:ext cx="1200374" cy="1201242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Text Placeholder 28">
            <a:extLst>
              <a:ext uri="{FF2B5EF4-FFF2-40B4-BE49-F238E27FC236}">
                <a16:creationId xmlns:a16="http://schemas.microsoft.com/office/drawing/2014/main" id="{A1A33FCF-D2EB-478E-8679-428657895F7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870817" y="2422565"/>
            <a:ext cx="2281237" cy="347662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1" spc="2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13" name="Text Placeholder 28">
            <a:extLst>
              <a:ext uri="{FF2B5EF4-FFF2-40B4-BE49-F238E27FC236}">
                <a16:creationId xmlns:a16="http://schemas.microsoft.com/office/drawing/2014/main" id="{55274EF8-F641-41B2-89C1-FD94AFA4868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870816" y="2807811"/>
            <a:ext cx="2281237" cy="347662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0" spc="2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8" name="Picture Placeholder 23">
            <a:extLst>
              <a:ext uri="{FF2B5EF4-FFF2-40B4-BE49-F238E27FC236}">
                <a16:creationId xmlns:a16="http://schemas.microsoft.com/office/drawing/2014/main" id="{124DE785-775F-4AE4-94B3-FA728188EBA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50429" y="4254273"/>
            <a:ext cx="1200374" cy="1201242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Text Placeholder 28">
            <a:extLst>
              <a:ext uri="{FF2B5EF4-FFF2-40B4-BE49-F238E27FC236}">
                <a16:creationId xmlns:a16="http://schemas.microsoft.com/office/drawing/2014/main" id="{5A429D4E-B795-4E55-852E-9E161F9EBD3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123351" y="4498793"/>
            <a:ext cx="2281237" cy="347662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1" spc="2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15" name="Text Placeholder 28">
            <a:extLst>
              <a:ext uri="{FF2B5EF4-FFF2-40B4-BE49-F238E27FC236}">
                <a16:creationId xmlns:a16="http://schemas.microsoft.com/office/drawing/2014/main" id="{41D297CB-52EE-4DE4-AEAC-CD4AAF2BF17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123350" y="4884039"/>
            <a:ext cx="2281237" cy="347662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0" spc="2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9" name="Picture Placeholder 23">
            <a:extLst>
              <a:ext uri="{FF2B5EF4-FFF2-40B4-BE49-F238E27FC236}">
                <a16:creationId xmlns:a16="http://schemas.microsoft.com/office/drawing/2014/main" id="{F5694B35-7776-4DB9-9EB7-3AF076EC357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495813" y="4254273"/>
            <a:ext cx="1200374" cy="1201242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Text Placeholder 28">
            <a:extLst>
              <a:ext uri="{FF2B5EF4-FFF2-40B4-BE49-F238E27FC236}">
                <a16:creationId xmlns:a16="http://schemas.microsoft.com/office/drawing/2014/main" id="{AD7B736B-3A10-499F-8F23-4437982C823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70817" y="4498793"/>
            <a:ext cx="2281237" cy="347662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1" spc="2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17" name="Text Placeholder 28">
            <a:extLst>
              <a:ext uri="{FF2B5EF4-FFF2-40B4-BE49-F238E27FC236}">
                <a16:creationId xmlns:a16="http://schemas.microsoft.com/office/drawing/2014/main" id="{07165540-290D-4A38-87DE-F52B05BD6A1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870816" y="4884039"/>
            <a:ext cx="2281237" cy="347662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0" spc="2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0C71211-4520-46A1-9487-4AE49C3239E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81000" y="6356350"/>
            <a:ext cx="1569803" cy="365125"/>
          </a:xfrm>
        </p:spPr>
        <p:txBody>
          <a:bodyPr>
            <a:noAutofit/>
          </a:bodyPr>
          <a:lstStyle>
            <a:lvl1pPr>
              <a:defRPr>
                <a:solidFill>
                  <a:schemeClr val="accent3"/>
                </a:solidFill>
                <a:latin typeface="+mn-lt"/>
              </a:defRPr>
            </a:lvl1pPr>
          </a:lstStyle>
          <a:p>
            <a:fld id="{DE9C2F25-78DF-431B-8767-0750863070B7}" type="datetime1">
              <a:rPr lang="en-US" smtClean="0"/>
              <a:t>8/30/2024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6356206-85FD-45F5-A1F7-128DB34C86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71106" y="6356350"/>
            <a:ext cx="4114800" cy="365125"/>
          </a:xfrm>
        </p:spPr>
        <p:txBody>
          <a:bodyPr>
            <a:noAutofit/>
          </a:bodyPr>
          <a:lstStyle>
            <a:lvl1pPr>
              <a:defRPr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en-US"/>
              <a:t>SPE-GCS KICK-OFF MEETING 2024-2025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203763F-C8CD-4BCB-9A0A-B10F000BC1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32334" y="6356350"/>
            <a:ext cx="1167495" cy="365125"/>
          </a:xfrm>
        </p:spPr>
        <p:txBody>
          <a:bodyPr>
            <a:noAutofit/>
          </a:bodyPr>
          <a:lstStyle>
            <a:lvl1pPr>
              <a:defRPr>
                <a:solidFill>
                  <a:schemeClr val="accent3"/>
                </a:solidFill>
                <a:latin typeface="+mn-lt"/>
              </a:defRPr>
            </a:lvl1pPr>
          </a:lstStyle>
          <a:p>
            <a:fld id="{294A09A9-5501-47C1-A89A-A340965A2BE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2" name="Picture 1" descr="A logo with white and blue circles&#10;&#10;Description automatically generated">
            <a:extLst>
              <a:ext uri="{FF2B5EF4-FFF2-40B4-BE49-F238E27FC236}">
                <a16:creationId xmlns:a16="http://schemas.microsoft.com/office/drawing/2014/main" id="{F574F72F-2093-F930-7028-43FF01ADC94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963407" y="-90683"/>
            <a:ext cx="1218147" cy="1218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441911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ole team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Title 1">
            <a:extLst>
              <a:ext uri="{FF2B5EF4-FFF2-40B4-BE49-F238E27FC236}">
                <a16:creationId xmlns:a16="http://schemas.microsoft.com/office/drawing/2014/main" id="{6825B690-1AD7-4243-AC42-D2CF19B7B0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0430" y="381000"/>
            <a:ext cx="10212977" cy="1325563"/>
          </a:xfrm>
        </p:spPr>
        <p:txBody>
          <a:bodyPr lIns="0" anchor="b">
            <a:noAutofit/>
          </a:bodyPr>
          <a:lstStyle>
            <a:lvl1pPr>
              <a:defRPr sz="4800" b="1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Picture Placeholder 23">
            <a:extLst>
              <a:ext uri="{FF2B5EF4-FFF2-40B4-BE49-F238E27FC236}">
                <a16:creationId xmlns:a16="http://schemas.microsoft.com/office/drawing/2014/main" id="{5E48B363-63E8-4F17-842B-53AD935A652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50429" y="2068734"/>
            <a:ext cx="904987" cy="905641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1" name="Text Placeholder 28">
            <a:extLst>
              <a:ext uri="{FF2B5EF4-FFF2-40B4-BE49-F238E27FC236}">
                <a16:creationId xmlns:a16="http://schemas.microsoft.com/office/drawing/2014/main" id="{1825005B-0520-EC49-9A5C-554CB700387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0430" y="2994545"/>
            <a:ext cx="2281237" cy="347662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1" spc="2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32" name="Text Placeholder 28">
            <a:extLst>
              <a:ext uri="{FF2B5EF4-FFF2-40B4-BE49-F238E27FC236}">
                <a16:creationId xmlns:a16="http://schemas.microsoft.com/office/drawing/2014/main" id="{B6697B92-AF89-2C46-BC1E-6CB47E8EA42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50429" y="3379791"/>
            <a:ext cx="2281237" cy="347662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0" spc="2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33" name="Picture Placeholder 23">
            <a:extLst>
              <a:ext uri="{FF2B5EF4-FFF2-40B4-BE49-F238E27FC236}">
                <a16:creationId xmlns:a16="http://schemas.microsoft.com/office/drawing/2014/main" id="{FA9FEBB0-45F1-DF45-89C4-B343F8B20BA0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3549397" y="2068734"/>
            <a:ext cx="904987" cy="905641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4" name="Text Placeholder 28">
            <a:extLst>
              <a:ext uri="{FF2B5EF4-FFF2-40B4-BE49-F238E27FC236}">
                <a16:creationId xmlns:a16="http://schemas.microsoft.com/office/drawing/2014/main" id="{EF331731-A7FC-C245-A9C1-0B1A2E994DB6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549398" y="2994545"/>
            <a:ext cx="2281237" cy="347662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1" spc="2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35" name="Text Placeholder 28">
            <a:extLst>
              <a:ext uri="{FF2B5EF4-FFF2-40B4-BE49-F238E27FC236}">
                <a16:creationId xmlns:a16="http://schemas.microsoft.com/office/drawing/2014/main" id="{313B974E-E762-EE48-B2DF-C8F10DF7344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549397" y="3379791"/>
            <a:ext cx="2281237" cy="347662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0" spc="2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36" name="Picture Placeholder 23">
            <a:extLst>
              <a:ext uri="{FF2B5EF4-FFF2-40B4-BE49-F238E27FC236}">
                <a16:creationId xmlns:a16="http://schemas.microsoft.com/office/drawing/2014/main" id="{8BA62E8C-79E6-D245-B706-FFB1E051B2D6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6348367" y="2068734"/>
            <a:ext cx="904987" cy="905641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7" name="Text Placeholder 28">
            <a:extLst>
              <a:ext uri="{FF2B5EF4-FFF2-40B4-BE49-F238E27FC236}">
                <a16:creationId xmlns:a16="http://schemas.microsoft.com/office/drawing/2014/main" id="{4199EE50-5386-0446-8ADA-23C1B0D6EA4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348368" y="2994545"/>
            <a:ext cx="2281237" cy="347662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1" spc="2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38" name="Text Placeholder 28">
            <a:extLst>
              <a:ext uri="{FF2B5EF4-FFF2-40B4-BE49-F238E27FC236}">
                <a16:creationId xmlns:a16="http://schemas.microsoft.com/office/drawing/2014/main" id="{478AB5CA-B5A5-934D-BF51-1485953A703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348367" y="3379791"/>
            <a:ext cx="2281237" cy="347662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0" spc="2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39" name="Picture Placeholder 23">
            <a:extLst>
              <a:ext uri="{FF2B5EF4-FFF2-40B4-BE49-F238E27FC236}">
                <a16:creationId xmlns:a16="http://schemas.microsoft.com/office/drawing/2014/main" id="{3D78BE06-1FC7-3C43-BD15-F4137B564B58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9147335" y="2068734"/>
            <a:ext cx="904987" cy="905641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0" name="Text Placeholder 28">
            <a:extLst>
              <a:ext uri="{FF2B5EF4-FFF2-40B4-BE49-F238E27FC236}">
                <a16:creationId xmlns:a16="http://schemas.microsoft.com/office/drawing/2014/main" id="{14F01FCC-4797-0343-8739-20331C751C1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147336" y="2994545"/>
            <a:ext cx="2281237" cy="347662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1" spc="2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41" name="Text Placeholder 28">
            <a:extLst>
              <a:ext uri="{FF2B5EF4-FFF2-40B4-BE49-F238E27FC236}">
                <a16:creationId xmlns:a16="http://schemas.microsoft.com/office/drawing/2014/main" id="{33FBE6CA-EC7A-1A4B-ADA3-6B78F2DE09C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147335" y="3379791"/>
            <a:ext cx="2281237" cy="347662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0" spc="2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42" name="Picture Placeholder 23">
            <a:extLst>
              <a:ext uri="{FF2B5EF4-FFF2-40B4-BE49-F238E27FC236}">
                <a16:creationId xmlns:a16="http://schemas.microsoft.com/office/drawing/2014/main" id="{6DD7CCE4-AD48-B64F-909E-F88961FBDFC5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750429" y="4118551"/>
            <a:ext cx="904987" cy="905641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3" name="Text Placeholder 28">
            <a:extLst>
              <a:ext uri="{FF2B5EF4-FFF2-40B4-BE49-F238E27FC236}">
                <a16:creationId xmlns:a16="http://schemas.microsoft.com/office/drawing/2014/main" id="{C076E7E2-3D95-EA47-BF86-444615F1F14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50430" y="5044362"/>
            <a:ext cx="2281237" cy="347662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1" spc="2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44" name="Text Placeholder 28">
            <a:extLst>
              <a:ext uri="{FF2B5EF4-FFF2-40B4-BE49-F238E27FC236}">
                <a16:creationId xmlns:a16="http://schemas.microsoft.com/office/drawing/2014/main" id="{612499D2-373C-3940-97A5-FCA8B245BE45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50429" y="5429608"/>
            <a:ext cx="2281237" cy="347662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0" spc="2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45" name="Picture Placeholder 23">
            <a:extLst>
              <a:ext uri="{FF2B5EF4-FFF2-40B4-BE49-F238E27FC236}">
                <a16:creationId xmlns:a16="http://schemas.microsoft.com/office/drawing/2014/main" id="{24B34D6D-4F7E-3942-B8D7-9970BDE53C10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3549397" y="4118551"/>
            <a:ext cx="904987" cy="905641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6" name="Text Placeholder 28">
            <a:extLst>
              <a:ext uri="{FF2B5EF4-FFF2-40B4-BE49-F238E27FC236}">
                <a16:creationId xmlns:a16="http://schemas.microsoft.com/office/drawing/2014/main" id="{D34EDB1D-7E85-D242-B6AE-F6D6907D325A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549398" y="5044362"/>
            <a:ext cx="2281237" cy="347662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1" spc="2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47" name="Text Placeholder 28">
            <a:extLst>
              <a:ext uri="{FF2B5EF4-FFF2-40B4-BE49-F238E27FC236}">
                <a16:creationId xmlns:a16="http://schemas.microsoft.com/office/drawing/2014/main" id="{3E3BFFF0-114B-6D42-B5E0-8020AC2E26BF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549397" y="5429608"/>
            <a:ext cx="2281237" cy="347662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0" spc="2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48" name="Picture Placeholder 23">
            <a:extLst>
              <a:ext uri="{FF2B5EF4-FFF2-40B4-BE49-F238E27FC236}">
                <a16:creationId xmlns:a16="http://schemas.microsoft.com/office/drawing/2014/main" id="{EB4488EE-E854-724E-95AE-B9943EE249EA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6348367" y="4118551"/>
            <a:ext cx="904987" cy="905641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9" name="Text Placeholder 28">
            <a:extLst>
              <a:ext uri="{FF2B5EF4-FFF2-40B4-BE49-F238E27FC236}">
                <a16:creationId xmlns:a16="http://schemas.microsoft.com/office/drawing/2014/main" id="{C5551B4D-583E-D644-9069-EC096CE76F50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348368" y="5044362"/>
            <a:ext cx="2281237" cy="347662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1" spc="2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50" name="Text Placeholder 28">
            <a:extLst>
              <a:ext uri="{FF2B5EF4-FFF2-40B4-BE49-F238E27FC236}">
                <a16:creationId xmlns:a16="http://schemas.microsoft.com/office/drawing/2014/main" id="{E30C4783-1643-2243-BB4F-E99E04D9216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6348367" y="5429608"/>
            <a:ext cx="2281237" cy="347662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0" spc="2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51" name="Picture Placeholder 23">
            <a:extLst>
              <a:ext uri="{FF2B5EF4-FFF2-40B4-BE49-F238E27FC236}">
                <a16:creationId xmlns:a16="http://schemas.microsoft.com/office/drawing/2014/main" id="{7BBADCE0-02E8-3249-8CBA-17D3783DFE70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9147335" y="4118551"/>
            <a:ext cx="904987" cy="905641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2" name="Text Placeholder 28">
            <a:extLst>
              <a:ext uri="{FF2B5EF4-FFF2-40B4-BE49-F238E27FC236}">
                <a16:creationId xmlns:a16="http://schemas.microsoft.com/office/drawing/2014/main" id="{8D294C40-97E4-FF4F-8A02-10FC7D0EE8B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9147336" y="5044362"/>
            <a:ext cx="2281237" cy="347662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1" spc="2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53" name="Text Placeholder 28">
            <a:extLst>
              <a:ext uri="{FF2B5EF4-FFF2-40B4-BE49-F238E27FC236}">
                <a16:creationId xmlns:a16="http://schemas.microsoft.com/office/drawing/2014/main" id="{8B38241F-01B5-574C-A827-67C6352C463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9147335" y="5429608"/>
            <a:ext cx="2281237" cy="347662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0" spc="2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8" name="Date Placeholder 17">
            <a:extLst>
              <a:ext uri="{FF2B5EF4-FFF2-40B4-BE49-F238E27FC236}">
                <a16:creationId xmlns:a16="http://schemas.microsoft.com/office/drawing/2014/main" id="{30445668-2DC5-E84C-8B16-922BC95F13F2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accent3"/>
                </a:solidFill>
                <a:latin typeface="+mn-lt"/>
              </a:defRPr>
            </a:lvl1pPr>
          </a:lstStyle>
          <a:p>
            <a:fld id="{2D00E6C6-ED7B-421D-BA81-9484F2AD555E}" type="datetime1">
              <a:rPr lang="en-US" smtClean="0"/>
              <a:t>8/30/2024</a:t>
            </a:fld>
            <a:endParaRPr lang="en-US" dirty="0"/>
          </a:p>
        </p:txBody>
      </p:sp>
      <p:sp>
        <p:nvSpPr>
          <p:cNvPr id="22" name="Footer Placeholder 21">
            <a:extLst>
              <a:ext uri="{FF2B5EF4-FFF2-40B4-BE49-F238E27FC236}">
                <a16:creationId xmlns:a16="http://schemas.microsoft.com/office/drawing/2014/main" id="{D9227732-A878-814C-8621-64ED1B2CCF9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en-US"/>
              <a:t>SPE-GCS KICK-OFF MEETING 2024-2025</a:t>
            </a:r>
            <a:endParaRPr lang="en-US" dirty="0"/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CE9F02AC-6DFB-0C47-BC8E-4B0594007F33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accent3"/>
                </a:solidFill>
                <a:latin typeface="+mn-lt"/>
              </a:defRPr>
            </a:lvl1pPr>
          </a:lstStyle>
          <a:p>
            <a:fld id="{294A09A9-5501-47C1-A89A-A340965A2BE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2" name="Picture 1" descr="A logo with white and blue circles&#10;&#10;Description automatically generated">
            <a:extLst>
              <a:ext uri="{FF2B5EF4-FFF2-40B4-BE49-F238E27FC236}">
                <a16:creationId xmlns:a16="http://schemas.microsoft.com/office/drawing/2014/main" id="{98B1492B-ACB2-F68D-183E-CD8E1F154FD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963407" y="-90683"/>
            <a:ext cx="1218147" cy="1218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572197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37BCE569-F6D1-3E70-DCBE-F35A5F34DA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3804021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350" imgH="350" progId="TCLayout.ActiveDocument.1">
                  <p:embed/>
                </p:oleObj>
              </mc:Choice>
              <mc:Fallback>
                <p:oleObj name="think-cell Slide" r:id="rId18" imgW="350" imgH="35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7BCE569-F6D1-3E70-DCBE-F35A5F34DA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198F9AA-2C87-421D-97C1-B4248DFDC2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1000"/>
            <a:ext cx="114300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E98FC63-C8D2-4CE6-A3F1-EE8ED24590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1000" y="1825625"/>
            <a:ext cx="114300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ED77A09-15C2-4E47-948E-AACAFCA47D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1200">
                <a:solidFill>
                  <a:schemeClr val="tx2"/>
                </a:solidFill>
                <a:latin typeface="+mn-lt"/>
              </a:defRPr>
            </a:lvl1pPr>
          </a:lstStyle>
          <a:p>
            <a:fld id="{45BC95F1-50FC-4E1D-A6A0-9030DDC2F0DB}" type="datetime1">
              <a:rPr lang="en-US" smtClean="0"/>
              <a:t>8/30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0567522-C3B6-46EB-A361-BEC2510B00C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defRPr sz="12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SPE-GCS KICK-OFF MEETING 2024-2025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DC57CF0-034F-450D-937C-718D5AF1A05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678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>
              <a:defRPr sz="1200">
                <a:solidFill>
                  <a:schemeClr val="tx2"/>
                </a:solidFill>
                <a:latin typeface="+mn-lt"/>
              </a:defRPr>
            </a:lvl1pPr>
          </a:lstStyle>
          <a:p>
            <a:fld id="{294A09A9-5501-47C1-A89A-A340965A2B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83539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9" r:id="rId4"/>
    <p:sldLayoutId id="2147483660" r:id="rId5"/>
    <p:sldLayoutId id="2147483661" r:id="rId6"/>
    <p:sldLayoutId id="2147483654" r:id="rId7"/>
    <p:sldLayoutId id="2147483658" r:id="rId8"/>
    <p:sldLayoutId id="2147483662" r:id="rId9"/>
    <p:sldLayoutId id="2147483663" r:id="rId10"/>
    <p:sldLayoutId id="2147483664" r:id="rId11"/>
    <p:sldLayoutId id="2147483665" r:id="rId12"/>
    <p:sldLayoutId id="2147483666" r:id="rId13"/>
    <p:sldLayoutId id="2147483667" r:id="rId14"/>
    <p:sldLayoutId id="2147483668" r:id="rId15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240" userDrawn="1">
          <p15:clr>
            <a:srgbClr val="547EBF"/>
          </p15:clr>
        </p15:guide>
        <p15:guide id="4" orient="horz" pos="240" userDrawn="1">
          <p15:clr>
            <a:srgbClr val="547EBF"/>
          </p15:clr>
        </p15:guide>
        <p15:guide id="5" pos="7440" userDrawn="1">
          <p15:clr>
            <a:srgbClr val="547EBF"/>
          </p15:clr>
        </p15:guide>
        <p15:guide id="6" orient="horz" pos="4080" userDrawn="1">
          <p15:clr>
            <a:srgbClr val="547EBF"/>
          </p15:clr>
        </p15:guide>
        <p15:guide id="7" pos="3960" userDrawn="1">
          <p15:clr>
            <a:srgbClr val="547EBF"/>
          </p15:clr>
        </p15:guide>
        <p15:guide id="8" pos="3720" userDrawn="1">
          <p15:clr>
            <a:srgbClr val="547EBF"/>
          </p15:clr>
        </p15:guide>
        <p15:guide id="9" pos="2112" userDrawn="1">
          <p15:clr>
            <a:srgbClr val="547EBF"/>
          </p15:clr>
        </p15:guide>
        <p15:guide id="10" pos="1848" userDrawn="1">
          <p15:clr>
            <a:srgbClr val="547EBF"/>
          </p15:clr>
        </p15:guide>
        <p15:guide id="11" pos="5568" userDrawn="1">
          <p15:clr>
            <a:srgbClr val="547EBF"/>
          </p15:clr>
        </p15:guide>
        <p15:guide id="12" pos="5832" userDrawn="1">
          <p15:clr>
            <a:srgbClr val="547EBF"/>
          </p15:clr>
        </p15:guide>
        <p15:guide id="13" pos="4968" userDrawn="1">
          <p15:clr>
            <a:srgbClr val="9FCC3B"/>
          </p15:clr>
        </p15:guide>
        <p15:guide id="14" pos="5208" userDrawn="1">
          <p15:clr>
            <a:srgbClr val="9FCC3B"/>
          </p15:clr>
        </p15:guide>
        <p15:guide id="15" pos="2712" userDrawn="1">
          <p15:clr>
            <a:srgbClr val="9FCC3B"/>
          </p15:clr>
        </p15:guide>
        <p15:guide id="16" pos="2472" userDrawn="1">
          <p15:clr>
            <a:srgbClr val="9FCC3B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3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34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3.xml"/><Relationship Id="rId6" Type="http://schemas.openxmlformats.org/officeDocument/2006/relationships/image" Target="../media/image3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4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13" Type="http://schemas.openxmlformats.org/officeDocument/2006/relationships/hyperlink" Target="mailto:namisouthern@yahoo.com" TargetMode="External"/><Relationship Id="rId18" Type="http://schemas.openxmlformats.org/officeDocument/2006/relationships/hyperlink" Target="mailto:riteja.dutta@enverus.com" TargetMode="External"/><Relationship Id="rId26" Type="http://schemas.openxmlformats.org/officeDocument/2006/relationships/hyperlink" Target="mailto:laura.santos@cmgl.ca" TargetMode="External"/><Relationship Id="rId39" Type="http://schemas.openxmlformats.org/officeDocument/2006/relationships/hyperlink" Target="mailto:stancal@windstream.net" TargetMode="External"/><Relationship Id="rId21" Type="http://schemas.openxmlformats.org/officeDocument/2006/relationships/hyperlink" Target="mailto:Alvaro.Gomez@bakerhughes.com" TargetMode="External"/><Relationship Id="rId34" Type="http://schemas.openxmlformats.org/officeDocument/2006/relationships/hyperlink" Target="mailto:ceramist@att.net" TargetMode="External"/><Relationship Id="rId7" Type="http://schemas.openxmlformats.org/officeDocument/2006/relationships/hyperlink" Target="mailto:amartinez@demac.com" TargetMode="External"/><Relationship Id="rId12" Type="http://schemas.openxmlformats.org/officeDocument/2006/relationships/hyperlink" Target="mailto:TButler@sabineoil.com" TargetMode="External"/><Relationship Id="rId17" Type="http://schemas.openxmlformats.org/officeDocument/2006/relationships/hyperlink" Target="mailto:Lucy.Fisher@bpx.com" TargetMode="External"/><Relationship Id="rId25" Type="http://schemas.openxmlformats.org/officeDocument/2006/relationships/hyperlink" Target="mailto:nazuaje@hotmail.com" TargetMode="External"/><Relationship Id="rId33" Type="http://schemas.openxmlformats.org/officeDocument/2006/relationships/hyperlink" Target="mailto:robertsaucedo@gmail.com" TargetMode="External"/><Relationship Id="rId38" Type="http://schemas.openxmlformats.org/officeDocument/2006/relationships/hyperlink" Target="mailto:darbykwitt@gmail.com" TargetMode="External"/><Relationship Id="rId2" Type="http://schemas.openxmlformats.org/officeDocument/2006/relationships/slideLayout" Target="../slideLayouts/slideLayout11.xml"/><Relationship Id="rId16" Type="http://schemas.openxmlformats.org/officeDocument/2006/relationships/hyperlink" Target="mailto:marmolejog1@gmail.com" TargetMode="External"/><Relationship Id="rId20" Type="http://schemas.openxmlformats.org/officeDocument/2006/relationships/hyperlink" Target="mailto:Jennifer.Calderin@wsp.com" TargetMode="External"/><Relationship Id="rId29" Type="http://schemas.openxmlformats.org/officeDocument/2006/relationships/hyperlink" Target="mailto:Mohsen.Babazadeh@conocophillips.com" TargetMode="External"/><Relationship Id="rId1" Type="http://schemas.openxmlformats.org/officeDocument/2006/relationships/tags" Target="../tags/tag15.xml"/><Relationship Id="rId6" Type="http://schemas.openxmlformats.org/officeDocument/2006/relationships/hyperlink" Target="mailto:Bharath.Rajappa@conocophillips.com" TargetMode="External"/><Relationship Id="rId11" Type="http://schemas.openxmlformats.org/officeDocument/2006/relationships/hyperlink" Target="mailto:Thomas.Shattuck@cliffordchance.com" TargetMode="External"/><Relationship Id="rId24" Type="http://schemas.openxmlformats.org/officeDocument/2006/relationships/hyperlink" Target="mailto:JGrimaldi@petro-amigos.com" TargetMode="External"/><Relationship Id="rId32" Type="http://schemas.openxmlformats.org/officeDocument/2006/relationships/hyperlink" Target="mailto:jbarry1970@gmail.com" TargetMode="External"/><Relationship Id="rId37" Type="http://schemas.openxmlformats.org/officeDocument/2006/relationships/hyperlink" Target="mailto:steve@schubarthinc.com" TargetMode="External"/><Relationship Id="rId5" Type="http://schemas.openxmlformats.org/officeDocument/2006/relationships/hyperlink" Target="mailto:Abhinandan.Kohli@shell.com" TargetMode="External"/><Relationship Id="rId15" Type="http://schemas.openxmlformats.org/officeDocument/2006/relationships/hyperlink" Target="mailto:chad.senters@corelab.com" TargetMode="External"/><Relationship Id="rId23" Type="http://schemas.openxmlformats.org/officeDocument/2006/relationships/hyperlink" Target="mailto:Shauna_Noonan@oxy.com" TargetMode="External"/><Relationship Id="rId28" Type="http://schemas.openxmlformats.org/officeDocument/2006/relationships/hyperlink" Target="mailto:mjones@gepllc.com" TargetMode="External"/><Relationship Id="rId36" Type="http://schemas.openxmlformats.org/officeDocument/2006/relationships/hyperlink" Target="mailto:APatil14@onesubsea.slb.com" TargetMode="External"/><Relationship Id="rId10" Type="http://schemas.openxmlformats.org/officeDocument/2006/relationships/hyperlink" Target="mailto:Debora.Martogi@Geosyntec.com" TargetMode="External"/><Relationship Id="rId19" Type="http://schemas.openxmlformats.org/officeDocument/2006/relationships/hyperlink" Target="mailto:bdavis0819@gmail.com" TargetMode="External"/><Relationship Id="rId31" Type="http://schemas.openxmlformats.org/officeDocument/2006/relationships/hyperlink" Target="mailto:prithvi.chauhan@xecta.com" TargetMode="External"/><Relationship Id="rId4" Type="http://schemas.openxmlformats.org/officeDocument/2006/relationships/image" Target="../media/image1.emf"/><Relationship Id="rId9" Type="http://schemas.openxmlformats.org/officeDocument/2006/relationships/hyperlink" Target="mailto:pruee.smith@bp.com" TargetMode="External"/><Relationship Id="rId14" Type="http://schemas.openxmlformats.org/officeDocument/2006/relationships/hyperlink" Target="mailto:XWei7@slb.com" TargetMode="External"/><Relationship Id="rId22" Type="http://schemas.openxmlformats.org/officeDocument/2006/relationships/hyperlink" Target="mailto:Amer.Hanif@bakerhughes.com" TargetMode="External"/><Relationship Id="rId27" Type="http://schemas.openxmlformats.org/officeDocument/2006/relationships/hyperlink" Target="mailto:jchung1727@gmail.com" TargetMode="External"/><Relationship Id="rId30" Type="http://schemas.openxmlformats.org/officeDocument/2006/relationships/hyperlink" Target="mailto:Madhusuden.Agrawal@bp.com" TargetMode="External"/><Relationship Id="rId35" Type="http://schemas.openxmlformats.org/officeDocument/2006/relationships/hyperlink" Target="mailto:hcramm@stokesandspiehler.net" TargetMode="External"/><Relationship Id="rId8" Type="http://schemas.openxmlformats.org/officeDocument/2006/relationships/hyperlink" Target="mailto:Derek.Key@corelab.com" TargetMode="External"/><Relationship Id="rId3" Type="http://schemas.openxmlformats.org/officeDocument/2006/relationships/oleObject" Target="../embeddings/oleObject12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6.xml"/><Relationship Id="rId6" Type="http://schemas.openxmlformats.org/officeDocument/2006/relationships/image" Target="../media/image38.jpg"/><Relationship Id="rId5" Type="http://schemas.openxmlformats.org/officeDocument/2006/relationships/image" Target="../media/image37.jpg"/><Relationship Id="rId4" Type="http://schemas.openxmlformats.org/officeDocument/2006/relationships/image" Target="../media/image4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7.xml"/><Relationship Id="rId4" Type="http://schemas.openxmlformats.org/officeDocument/2006/relationships/image" Target="../media/image4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7" Type="http://schemas.openxmlformats.org/officeDocument/2006/relationships/image" Target="../media/image4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image" Target="../media/image4.emf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oleObject" Target="../embeddings/oleObject16.bin"/><Relationship Id="rId7" Type="http://schemas.openxmlformats.org/officeDocument/2006/relationships/image" Target="../media/image4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.xml"/><Relationship Id="rId6" Type="http://schemas.openxmlformats.org/officeDocument/2006/relationships/image" Target="../media/image43.png"/><Relationship Id="rId5" Type="http://schemas.openxmlformats.org/officeDocument/2006/relationships/image" Target="../media/image42.png"/><Relationship Id="rId4" Type="http://schemas.openxmlformats.org/officeDocument/2006/relationships/image" Target="../media/image4.emf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13" Type="http://schemas.openxmlformats.org/officeDocument/2006/relationships/image" Target="../media/image54.png"/><Relationship Id="rId3" Type="http://schemas.openxmlformats.org/officeDocument/2006/relationships/oleObject" Target="../embeddings/oleObject17.bin"/><Relationship Id="rId7" Type="http://schemas.openxmlformats.org/officeDocument/2006/relationships/image" Target="../media/image48.png"/><Relationship Id="rId12" Type="http://schemas.openxmlformats.org/officeDocument/2006/relationships/image" Target="../media/image5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0.xml"/><Relationship Id="rId6" Type="http://schemas.openxmlformats.org/officeDocument/2006/relationships/image" Target="../media/image47.png"/><Relationship Id="rId11" Type="http://schemas.openxmlformats.org/officeDocument/2006/relationships/image" Target="../media/image52.png"/><Relationship Id="rId5" Type="http://schemas.openxmlformats.org/officeDocument/2006/relationships/image" Target="../media/image46.png"/><Relationship Id="rId10" Type="http://schemas.openxmlformats.org/officeDocument/2006/relationships/image" Target="../media/image51.png"/><Relationship Id="rId4" Type="http://schemas.openxmlformats.org/officeDocument/2006/relationships/image" Target="../media/image4.emf"/><Relationship Id="rId9" Type="http://schemas.openxmlformats.org/officeDocument/2006/relationships/image" Target="../media/image50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7" Type="http://schemas.openxmlformats.org/officeDocument/2006/relationships/image" Target="../media/image57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1.xml"/><Relationship Id="rId6" Type="http://schemas.openxmlformats.org/officeDocument/2006/relationships/image" Target="../media/image56.png"/><Relationship Id="rId5" Type="http://schemas.openxmlformats.org/officeDocument/2006/relationships/image" Target="../media/image55.jpg"/><Relationship Id="rId4" Type="http://schemas.openxmlformats.org/officeDocument/2006/relationships/image" Target="../media/image4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2.xml"/><Relationship Id="rId6" Type="http://schemas.openxmlformats.org/officeDocument/2006/relationships/image" Target="../media/image59.png"/><Relationship Id="rId5" Type="http://schemas.openxmlformats.org/officeDocument/2006/relationships/image" Target="../media/image58.png"/><Relationship Id="rId4" Type="http://schemas.openxmlformats.org/officeDocument/2006/relationships/image" Target="../media/image4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6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jp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61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3.xml"/><Relationship Id="rId6" Type="http://schemas.openxmlformats.org/officeDocument/2006/relationships/image" Target="../media/image60.jpeg"/><Relationship Id="rId5" Type="http://schemas.openxmlformats.org/officeDocument/2006/relationships/image" Target="../media/image4.emf"/><Relationship Id="rId10" Type="http://schemas.openxmlformats.org/officeDocument/2006/relationships/image" Target="../media/image64.jpg"/><Relationship Id="rId4" Type="http://schemas.openxmlformats.org/officeDocument/2006/relationships/oleObject" Target="../embeddings/oleObject20.bin"/><Relationship Id="rId9" Type="http://schemas.openxmlformats.org/officeDocument/2006/relationships/image" Target="../media/image63.jp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65.jp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mailto:communications.spegcs@gmail.com" TargetMode="External"/><Relationship Id="rId2" Type="http://schemas.openxmlformats.org/officeDocument/2006/relationships/hyperlink" Target="mailto:webmaster@spegcs.org" TargetMode="External"/><Relationship Id="rId1" Type="http://schemas.openxmlformats.org/officeDocument/2006/relationships/slideLayout" Target="../slideLayouts/slideLayout2.xml"/><Relationship Id="rId5" Type="http://schemas.openxmlformats.org/officeDocument/2006/relationships/hyperlink" Target="mailto:tbutler@sabineoil.com" TargetMode="External"/><Relationship Id="rId4" Type="http://schemas.openxmlformats.org/officeDocument/2006/relationships/hyperlink" Target="mailto:thomas.shattuck@cliffordchance.com" TargetMode="Externa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linkedin.com/company/spe-gulf-coast-section" TargetMode="External"/><Relationship Id="rId2" Type="http://schemas.openxmlformats.org/officeDocument/2006/relationships/hyperlink" Target="mailto:communications.spegcs@gmail.com" TargetMode="Externa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14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9.png"/><Relationship Id="rId13" Type="http://schemas.openxmlformats.org/officeDocument/2006/relationships/image" Target="../media/image84.svg"/><Relationship Id="rId3" Type="http://schemas.openxmlformats.org/officeDocument/2006/relationships/image" Target="../media/image74.svg"/><Relationship Id="rId7" Type="http://schemas.openxmlformats.org/officeDocument/2006/relationships/image" Target="../media/image78.svg"/><Relationship Id="rId12" Type="http://schemas.openxmlformats.org/officeDocument/2006/relationships/image" Target="../media/image83.png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77.png"/><Relationship Id="rId11" Type="http://schemas.openxmlformats.org/officeDocument/2006/relationships/image" Target="../media/image82.svg"/><Relationship Id="rId5" Type="http://schemas.openxmlformats.org/officeDocument/2006/relationships/image" Target="../media/image76.svg"/><Relationship Id="rId10" Type="http://schemas.openxmlformats.org/officeDocument/2006/relationships/image" Target="../media/image81.png"/><Relationship Id="rId4" Type="http://schemas.openxmlformats.org/officeDocument/2006/relationships/image" Target="../media/image75.png"/><Relationship Id="rId9" Type="http://schemas.openxmlformats.org/officeDocument/2006/relationships/image" Target="../media/image80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nhc.noaa.gov/" TargetMode="External"/><Relationship Id="rId3" Type="http://schemas.openxmlformats.org/officeDocument/2006/relationships/notesSlide" Target="../notesSlides/notesSlide1.xml"/><Relationship Id="rId7" Type="http://schemas.openxmlformats.org/officeDocument/2006/relationships/hyperlink" Target="http://www.ready.gov/" TargetMode="Externa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7.xml"/><Relationship Id="rId6" Type="http://schemas.openxmlformats.org/officeDocument/2006/relationships/hyperlink" Target="https://www.fema.gov/" TargetMode="External"/><Relationship Id="rId5" Type="http://schemas.openxmlformats.org/officeDocument/2006/relationships/image" Target="../media/image1.emf"/><Relationship Id="rId10" Type="http://schemas.openxmlformats.org/officeDocument/2006/relationships/image" Target="../media/image7.png"/><Relationship Id="rId4" Type="http://schemas.openxmlformats.org/officeDocument/2006/relationships/oleObject" Target="../embeddings/oleObject4.bin"/><Relationship Id="rId9" Type="http://schemas.openxmlformats.org/officeDocument/2006/relationships/image" Target="../media/image6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7" Type="http://schemas.openxmlformats.org/officeDocument/2006/relationships/image" Target="../media/image87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4.xml"/><Relationship Id="rId6" Type="http://schemas.openxmlformats.org/officeDocument/2006/relationships/image" Target="../media/image86.png"/><Relationship Id="rId5" Type="http://schemas.openxmlformats.org/officeDocument/2006/relationships/image" Target="../media/image85.png"/><Relationship Id="rId4" Type="http://schemas.openxmlformats.org/officeDocument/2006/relationships/image" Target="../media/image4.emf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1.png"/><Relationship Id="rId3" Type="http://schemas.openxmlformats.org/officeDocument/2006/relationships/oleObject" Target="../embeddings/oleObject22.bin"/><Relationship Id="rId7" Type="http://schemas.openxmlformats.org/officeDocument/2006/relationships/image" Target="../media/image90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5.xml"/><Relationship Id="rId6" Type="http://schemas.openxmlformats.org/officeDocument/2006/relationships/image" Target="../media/image89.png"/><Relationship Id="rId5" Type="http://schemas.openxmlformats.org/officeDocument/2006/relationships/image" Target="../media/image88.png"/><Relationship Id="rId4" Type="http://schemas.openxmlformats.org/officeDocument/2006/relationships/image" Target="../media/image4.emf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4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93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6.xml"/><Relationship Id="rId6" Type="http://schemas.openxmlformats.org/officeDocument/2006/relationships/image" Target="../media/image92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3.bin"/><Relationship Id="rId9" Type="http://schemas.openxmlformats.org/officeDocument/2006/relationships/image" Target="../media/image95.sv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7.xml"/><Relationship Id="rId4" Type="http://schemas.openxmlformats.org/officeDocument/2006/relationships/image" Target="../media/image4.emf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8.xml"/><Relationship Id="rId5" Type="http://schemas.openxmlformats.org/officeDocument/2006/relationships/image" Target="../media/image96.jpg"/><Relationship Id="rId4" Type="http://schemas.openxmlformats.org/officeDocument/2006/relationships/image" Target="../media/image4.emf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9.xml"/><Relationship Id="rId5" Type="http://schemas.openxmlformats.org/officeDocument/2006/relationships/image" Target="../media/image97.jpeg"/><Relationship Id="rId4" Type="http://schemas.openxmlformats.org/officeDocument/2006/relationships/image" Target="../media/image4.emf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1.jpg"/><Relationship Id="rId3" Type="http://schemas.openxmlformats.org/officeDocument/2006/relationships/oleObject" Target="../embeddings/oleObject27.bin"/><Relationship Id="rId7" Type="http://schemas.openxmlformats.org/officeDocument/2006/relationships/image" Target="../media/image100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0.xml"/><Relationship Id="rId6" Type="http://schemas.openxmlformats.org/officeDocument/2006/relationships/image" Target="../media/image99.png"/><Relationship Id="rId5" Type="http://schemas.openxmlformats.org/officeDocument/2006/relationships/image" Target="../media/image98.png"/><Relationship Id="rId4" Type="http://schemas.openxmlformats.org/officeDocument/2006/relationships/image" Target="../media/image4.emf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1.xml"/><Relationship Id="rId6" Type="http://schemas.openxmlformats.org/officeDocument/2006/relationships/image" Target="../media/image103.jpg"/><Relationship Id="rId5" Type="http://schemas.openxmlformats.org/officeDocument/2006/relationships/image" Target="../media/image102.jpg"/><Relationship Id="rId4" Type="http://schemas.openxmlformats.org/officeDocument/2006/relationships/image" Target="../media/image4.emf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hyperlink" Target="https://eur02.safelinks.protection.outlook.com/?url=https%3A%2F%2Fwww.spegcs.org%2Fgroups%2Fspegcs-completions-production%2F&amp;data=05%7C02%7CAbhinandan.Kohli%40shell.com%7C1ba5f33531a746ec786808dcc5316a63%7Cdb1e96a8a3da442a930b235cac24cd5c%7C0%7C0%7C638602064255083897%7CUnknown%7CTWFpbGZsb3d8eyJWIjoiMC4wLjAwMDAiLCJQIjoiV2luMzIiLCJBTiI6Ik1haWwiLCJXVCI6Mn0%3D%7C0%7C%7C%7C&amp;sdata=rRKdwWwqcJuFBp1MdDUhEV%2Bz3etR%2FhQ%2FnFRsB6L%2BkLI%3D&amp;reserved=0" TargetMode="External"/><Relationship Id="rId13" Type="http://schemas.openxmlformats.org/officeDocument/2006/relationships/hyperlink" Target="https://eur02.safelinks.protection.outlook.com/?url=https%3A%2F%2Fwww.spegcs.org%2Fevents%2F6902%2F&amp;data=05%7C02%7CAbhinandan.Kohli%40shell.com%7C1ba5f33531a746ec786808dcc5316a63%7Cdb1e96a8a3da442a930b235cac24cd5c%7C0%7C0%7C638602064255116915%7CUnknown%7CTWFpbGZsb3d8eyJWIjoiMC4wLjAwMDAiLCJQIjoiV2luMzIiLCJBTiI6Ik1haWwiLCJXVCI6Mn0%3D%7C0%7C%7C%7C&amp;sdata=MHNOoQ1S5DdC9wYnJqvZ2Pe5mpkCRK0DkEVDXJyEJow%3D&amp;reserved=0" TargetMode="External"/><Relationship Id="rId18" Type="http://schemas.openxmlformats.org/officeDocument/2006/relationships/hyperlink" Target="https://eur02.safelinks.protection.outlook.com/?url=https%3A%2F%2Fwww.spegcs.org%2Fevents%2F6936%2F&amp;data=05%7C02%7CAbhinandan.Kohli%40shell.com%7C1ba5f33531a746ec786808dcc5316a63%7Cdb1e96a8a3da442a930b235cac24cd5c%7C0%7C0%7C638602064255190593%7CUnknown%7CTWFpbGZsb3d8eyJWIjoiMC4wLjAwMDAiLCJQIjoiV2luMzIiLCJBTiI6Ik1haWwiLCJXVCI6Mn0%3D%7C0%7C%7C%7C&amp;sdata=88HSdMAC15dascFs13ZeFS9Kx3B5eVe94YxviPsorMA%3D&amp;reserved=0" TargetMode="External"/><Relationship Id="rId26" Type="http://schemas.openxmlformats.org/officeDocument/2006/relationships/hyperlink" Target="https://www.spegcs.org/events/6916/" TargetMode="External"/><Relationship Id="rId3" Type="http://schemas.openxmlformats.org/officeDocument/2006/relationships/notesSlide" Target="../notesSlides/notesSlide8.xml"/><Relationship Id="rId21" Type="http://schemas.openxmlformats.org/officeDocument/2006/relationships/hyperlink" Target="https://www.spegcs.org/events/6953/" TargetMode="External"/><Relationship Id="rId7" Type="http://schemas.openxmlformats.org/officeDocument/2006/relationships/hyperlink" Target="https://eur02.safelinks.protection.outlook.com/?url=https%3A%2F%2Fwww.spegcs.org%2Fevents%2F6934%2F&amp;data=05%7C02%7CAbhinandan.Kohli%40shell.com%7C1ba5f33531a746ec786808dcc5316a63%7Cdb1e96a8a3da442a930b235cac24cd5c%7C0%7C0%7C638602064255076998%7CUnknown%7CTWFpbGZsb3d8eyJWIjoiMC4wLjAwMDAiLCJQIjoiV2luMzIiLCJBTiI6Ik1haWwiLCJXVCI6Mn0%3D%7C0%7C%7C%7C&amp;sdata=qwKHsoxjxagJtz%2BzxPxAsiNVvyNdleJy89IH9GJBurE%3D&amp;reserved=0" TargetMode="External"/><Relationship Id="rId12" Type="http://schemas.openxmlformats.org/officeDocument/2006/relationships/hyperlink" Target="https://eur02.safelinks.protection.outlook.com/?url=https%3A%2F%2Fwww.spegcs.org%2Fevents%2F6902%2F&amp;data=05%7C02%7CAbhinandan.Kohli%40shell.com%7C1ba5f33531a746ec786808dcc5316a63%7Cdb1e96a8a3da442a930b235cac24cd5c%7C0%7C0%7C638602064255110316%7CUnknown%7CTWFpbGZsb3d8eyJWIjoiMC4wLjAwMDAiLCJQIjoiV2luMzIiLCJBTiI6Ik1haWwiLCJXVCI6Mn0%3D%7C0%7C%7C%7C&amp;sdata=EE5abwVUxWVo%2FKzR8WS58%2Bq%2BRH%2BXgWd89Ub8hHo8w58%3D&amp;reserved=0" TargetMode="External"/><Relationship Id="rId17" Type="http://schemas.openxmlformats.org/officeDocument/2006/relationships/hyperlink" Target="https://eur02.safelinks.protection.outlook.com/?url=https%3A%2F%2Fwww.spegcs.org%2Fgroups%2Fsig%2F&amp;data=05%7C02%7CAbhinandan.Kohli%40shell.com%7C1ba5f33531a746ec786808dcc5316a63%7Cdb1e96a8a3da442a930b235cac24cd5c%7C0%7C0%7C638602064255183189%7CUnknown%7CTWFpbGZsb3d8eyJWIjoiMC4wLjAwMDAiLCJQIjoiV2luMzIiLCJBTiI6Ik1haWwiLCJXVCI6Mn0%3D%7C0%7C%7C%7C&amp;sdata=WdqBdRz5M%2F%2Faj1m7qAhmpjQCtLJUJYQQKDEpkD3GbEU%3D&amp;reserved=0" TargetMode="External"/><Relationship Id="rId25" Type="http://schemas.openxmlformats.org/officeDocument/2006/relationships/hyperlink" Target="https://eur02.safelinks.protection.outlook.com/?url=https%3A%2F%2Fwww.spegcs.org%2Fgroups%2Fstudy-group-reservoir%2F&amp;data=05%7C02%7CAbhinandan.Kohli%40shell.com%7C1ba5f33531a746ec786808dcc5316a63%7Cdb1e96a8a3da442a930b235cac24cd5c%7C0%7C0%7C638602064255223335%7CUnknown%7CTWFpbGZsb3d8eyJWIjoiMC4wLjAwMDAiLCJQIjoiV2luMzIiLCJBTiI6Ik1haWwiLCJXVCI6Mn0%3D%7C0%7C%7C%7C&amp;sdata=ZT442eWmim8fO995JiDa0znttwzFgmeATqoEBlwN0m4%3D&amp;reserved=0" TargetMode="External"/><Relationship Id="rId2" Type="http://schemas.openxmlformats.org/officeDocument/2006/relationships/slideLayout" Target="../slideLayouts/slideLayout2.xml"/><Relationship Id="rId16" Type="http://schemas.openxmlformats.org/officeDocument/2006/relationships/hyperlink" Target="https://eur02.safelinks.protection.outlook.com/?url=https%3A%2F%2Fwww.spegcs.org%2Fevents%2F6930%2F&amp;data=05%7C02%7CAbhinandan.Kohli%40shell.com%7C1ba5f33531a746ec786808dcc5316a63%7Cdb1e96a8a3da442a930b235cac24cd5c%7C0%7C0%7C638602064255175582%7CUnknown%7CTWFpbGZsb3d8eyJWIjoiMC4wLjAwMDAiLCJQIjoiV2luMzIiLCJBTiI6Ik1haWwiLCJXVCI6Mn0%3D%7C0%7C%7C%7C&amp;sdata=f3stjUmuDG3ze6RJrgTFu%2B2qJWprD1emxw641ARHwTg%3D&amp;reserved=0" TargetMode="External"/><Relationship Id="rId20" Type="http://schemas.openxmlformats.org/officeDocument/2006/relationships/hyperlink" Target="https://eur02.safelinks.protection.outlook.com/?url=https%3A%2F%2Fwww.spegcs.org%2Fgroups%2Fstudy-group-westside%2F&amp;data=05%7C02%7CAbhinandan.Kohli%40shell.com%7C1ba5f33531a746ec786808dcc5316a63%7Cdb1e96a8a3da442a930b235cac24cd5c%7C0%7C0%7C638602064255203712%7CUnknown%7CTWFpbGZsb3d8eyJWIjoiMC4wLjAwMDAiLCJQIjoiV2luMzIiLCJBTiI6Ik1haWwiLCJXVCI6Mn0%3D%7C0%7C%7C%7C&amp;sdata=ivN97Sh%2B6IzGZvoxNCnCDBPRoOXG34JqBCz1hE8c2oU%3D&amp;reserved=0" TargetMode="External"/><Relationship Id="rId1" Type="http://schemas.openxmlformats.org/officeDocument/2006/relationships/tags" Target="../tags/tag32.xml"/><Relationship Id="rId6" Type="http://schemas.openxmlformats.org/officeDocument/2006/relationships/hyperlink" Target="https://eur02.safelinks.protection.outlook.com/?url=https%3A%2F%2Fwww.spegcs.org%2Fevents%2F6934%2F&amp;data=05%7C02%7CAbhinandan.Kohli%40shell.com%7C1ba5f33531a746ec786808dcc5316a63%7Cdb1e96a8a3da442a930b235cac24cd5c%7C0%7C0%7C638602064255069135%7CUnknown%7CTWFpbGZsb3d8eyJWIjoiMC4wLjAwMDAiLCJQIjoiV2luMzIiLCJBTiI6Ik1haWwiLCJXVCI6Mn0%3D%7C0%7C%7C%7C&amp;sdata=ge1whO4vHvgYyPbina9LQYYVHDjJ1hHWEhqWm3I9Kjc%3D&amp;reserved=0" TargetMode="External"/><Relationship Id="rId11" Type="http://schemas.openxmlformats.org/officeDocument/2006/relationships/hyperlink" Target="https://eur02.safelinks.protection.outlook.com/?url=https%3A%2F%2Fwww.spegcs.org%2Fgroups%2Fnorthside%2F&amp;data=05%7C02%7CAbhinandan.Kohli%40shell.com%7C1ba5f33531a746ec786808dcc5316a63%7Cdb1e96a8a3da442a930b235cac24cd5c%7C0%7C0%7C638602064255103667%7CUnknown%7CTWFpbGZsb3d8eyJWIjoiMC4wLjAwMDAiLCJQIjoiV2luMzIiLCJBTiI6Ik1haWwiLCJXVCI6Mn0%3D%7C0%7C%7C%7C&amp;sdata=SE5EWbKHZtwnYk4uK4yqezBWiXWaeluNJfkoB5IfslM%3D&amp;reserved=0" TargetMode="External"/><Relationship Id="rId24" Type="http://schemas.openxmlformats.org/officeDocument/2006/relationships/hyperlink" Target="https://eur02.safelinks.protection.outlook.com/?url=https%3A%2F%2Fwww.spegcs.org%2Fevents%2F6951%2F&amp;data=05%7C02%7CAbhinandan.Kohli%40shell.com%7C1ba5f33531a746ec786808dcc5316a63%7Cdb1e96a8a3da442a930b235cac24cd5c%7C0%7C0%7C638602064255216806%7CUnknown%7CTWFpbGZsb3d8eyJWIjoiMC4wLjAwMDAiLCJQIjoiV2luMzIiLCJBTiI6Ik1haWwiLCJXVCI6Mn0%3D%7C0%7C%7C%7C&amp;sdata=4Tyks87xaM4QKyOSFwvOEkAJv1APZRrDLfh2pShhxpg%3D&amp;reserved=0" TargetMode="External"/><Relationship Id="rId5" Type="http://schemas.openxmlformats.org/officeDocument/2006/relationships/image" Target="../media/image4.emf"/><Relationship Id="rId15" Type="http://schemas.openxmlformats.org/officeDocument/2006/relationships/hyperlink" Target="https://eur02.safelinks.protection.outlook.com/?url=https%3A%2F%2Fwww.spegcs.org%2Fevents%2F6930%2F&amp;data=05%7C02%7CAbhinandan.Kohli%40shell.com%7C1ba5f33531a746ec786808dcc5316a63%7Cdb1e96a8a3da442a930b235cac24cd5c%7C0%7C0%7C638602064255169134%7CUnknown%7CTWFpbGZsb3d8eyJWIjoiMC4wLjAwMDAiLCJQIjoiV2luMzIiLCJBTiI6Ik1haWwiLCJXVCI6Mn0%3D%7C0%7C%7C%7C&amp;sdata=1tLJCtqv6JL6ZcVECIrW3UgUNYAJfbXIaD9YIq6oni8%3D&amp;reserved=0" TargetMode="External"/><Relationship Id="rId23" Type="http://schemas.openxmlformats.org/officeDocument/2006/relationships/hyperlink" Target="https://eur02.safelinks.protection.outlook.com/?url=https%3A%2F%2Fwww.spegcs.org%2Fevents%2F6951%2F&amp;data=05%7C02%7CAbhinandan.Kohli%40shell.com%7C1ba5f33531a746ec786808dcc5316a63%7Cdb1e96a8a3da442a930b235cac24cd5c%7C0%7C0%7C638602064255210281%7CUnknown%7CTWFpbGZsb3d8eyJWIjoiMC4wLjAwMDAiLCJQIjoiV2luMzIiLCJBTiI6Ik1haWwiLCJXVCI6Mn0%3D%7C0%7C%7C%7C&amp;sdata=RnKcC1q7uaUplZY0bznjiH3QTlwYj35%2BkWEWi4a7L20%3D&amp;reserved=0" TargetMode="External"/><Relationship Id="rId10" Type="http://schemas.openxmlformats.org/officeDocument/2006/relationships/hyperlink" Target="https://eur02.safelinks.protection.outlook.com/?url=https%3A%2F%2Fwww.spegcs.org%2Fevents%2F6891%2F&amp;data=05%7C02%7CAbhinandan.Kohli%40shell.com%7C1ba5f33531a746ec786808dcc5316a63%7Cdb1e96a8a3da442a930b235cac24cd5c%7C0%7C0%7C638602064255097075%7CUnknown%7CTWFpbGZsb3d8eyJWIjoiMC4wLjAwMDAiLCJQIjoiV2luMzIiLCJBTiI6Ik1haWwiLCJXVCI6Mn0%3D%7C0%7C%7C%7C&amp;sdata=YyFyENQm6zNIzofoo6BRyOIBLvg56xo2Cxt86V0LT%2FQ%3D&amp;reserved=0" TargetMode="External"/><Relationship Id="rId19" Type="http://schemas.openxmlformats.org/officeDocument/2006/relationships/hyperlink" Target="https://eur02.safelinks.protection.outlook.com/?url=https%3A%2F%2Fwww.spegcs.org%2Fevents%2F6936%2F&amp;data=05%7C02%7CAbhinandan.Kohli%40shell.com%7C1ba5f33531a746ec786808dcc5316a63%7Cdb1e96a8a3da442a930b235cac24cd5c%7C0%7C0%7C638602064255197224%7CUnknown%7CTWFpbGZsb3d8eyJWIjoiMC4wLjAwMDAiLCJQIjoiV2luMzIiLCJBTiI6Ik1haWwiLCJXVCI6Mn0%3D%7C0%7C%7C%7C&amp;sdata=iECoFurdhK3gXUGaK7x8H0pUktcg1flUoYndjy1AyxY%3D&amp;reserved=0" TargetMode="External"/><Relationship Id="rId4" Type="http://schemas.openxmlformats.org/officeDocument/2006/relationships/oleObject" Target="../embeddings/oleObject29.bin"/><Relationship Id="rId9" Type="http://schemas.openxmlformats.org/officeDocument/2006/relationships/hyperlink" Target="https://eur02.safelinks.protection.outlook.com/?url=https%3A%2F%2Fwww.spegcs.org%2Fevents%2F6891%2F&amp;data=05%7C02%7CAbhinandan.Kohli%40shell.com%7C1ba5f33531a746ec786808dcc5316a63%7Cdb1e96a8a3da442a930b235cac24cd5c%7C0%7C0%7C638602064255090527%7CUnknown%7CTWFpbGZsb3d8eyJWIjoiMC4wLjAwMDAiLCJQIjoiV2luMzIiLCJBTiI6Ik1haWwiLCJXVCI6Mn0%3D%7C0%7C%7C%7C&amp;sdata=m0O%2Fs0iN5FUKxd2MikkmEPV%2BwCVw0A8Y5SxAjR7mmtU%3D&amp;reserved=0" TargetMode="External"/><Relationship Id="rId14" Type="http://schemas.openxmlformats.org/officeDocument/2006/relationships/hyperlink" Target="https://eur02.safelinks.protection.outlook.com/?url=https%3A%2F%2Fwww.spegcs.org%2Fgroups%2Fstudy-group-general-meeting%2F&amp;data=05%7C02%7CAbhinandan.Kohli%40shell.com%7C1ba5f33531a746ec786808dcc5316a63%7Cdb1e96a8a3da442a930b235cac24cd5c%7C0%7C0%7C638602064255123458%7CUnknown%7CTWFpbGZsb3d8eyJWIjoiMC4wLjAwMDAiLCJQIjoiV2luMzIiLCJBTiI6Ik1haWwiLCJXVCI6Mn0%3D%7C0%7C%7C%7C&amp;sdata=O5wWNPsOckmTV2Tp4R05d8WzQmDJ4XWWrKOjtrgIwvg%3D&amp;reserved=0" TargetMode="External"/><Relationship Id="rId22" Type="http://schemas.openxmlformats.org/officeDocument/2006/relationships/hyperlink" Target="https://www.spegcs.org/study-groups/business-development/" TargetMode="External"/><Relationship Id="rId27" Type="http://schemas.openxmlformats.org/officeDocument/2006/relationships/hyperlink" Target="https://www.spegcs.org/committees/board-of-directors/" TargetMode="Externa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png"/><Relationship Id="rId2" Type="http://schemas.openxmlformats.org/officeDocument/2006/relationships/image" Target="../media/image104.png"/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8.xml"/><Relationship Id="rId6" Type="http://schemas.openxmlformats.org/officeDocument/2006/relationships/image" Target="../media/image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hyperlink" Target="mailto:Abhinandan.Kohli@shell.com" TargetMode="External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Relationship Id="rId4" Type="http://schemas.openxmlformats.org/officeDocument/2006/relationships/image" Target="../media/image4.emf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2.png"/><Relationship Id="rId12" Type="http://schemas.openxmlformats.org/officeDocument/2006/relationships/image" Target="../media/image17.pn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0.xml"/><Relationship Id="rId6" Type="http://schemas.openxmlformats.org/officeDocument/2006/relationships/image" Target="../media/image11.png"/><Relationship Id="rId11" Type="http://schemas.openxmlformats.org/officeDocument/2006/relationships/image" Target="../media/image16.png"/><Relationship Id="rId5" Type="http://schemas.openxmlformats.org/officeDocument/2006/relationships/image" Target="../media/image3.emf"/><Relationship Id="rId15" Type="http://schemas.openxmlformats.org/officeDocument/2006/relationships/image" Target="../media/image20.png"/><Relationship Id="rId10" Type="http://schemas.openxmlformats.org/officeDocument/2006/relationships/image" Target="../media/image15.png"/><Relationship Id="rId4" Type="http://schemas.openxmlformats.org/officeDocument/2006/relationships/oleObject" Target="../embeddings/oleObject7.bin"/><Relationship Id="rId9" Type="http://schemas.openxmlformats.org/officeDocument/2006/relationships/image" Target="../media/image14.png"/><Relationship Id="rId14" Type="http://schemas.openxmlformats.org/officeDocument/2006/relationships/image" Target="../media/image19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eg"/><Relationship Id="rId13" Type="http://schemas.openxmlformats.org/officeDocument/2006/relationships/image" Target="../media/image29.png"/><Relationship Id="rId3" Type="http://schemas.openxmlformats.org/officeDocument/2006/relationships/oleObject" Target="../embeddings/oleObject8.bin"/><Relationship Id="rId7" Type="http://schemas.openxmlformats.org/officeDocument/2006/relationships/image" Target="../media/image23.png"/><Relationship Id="rId12" Type="http://schemas.openxmlformats.org/officeDocument/2006/relationships/image" Target="../media/image28.pn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1.xml"/><Relationship Id="rId6" Type="http://schemas.openxmlformats.org/officeDocument/2006/relationships/image" Target="../media/image22.png"/><Relationship Id="rId11" Type="http://schemas.openxmlformats.org/officeDocument/2006/relationships/image" Target="../media/image27.png"/><Relationship Id="rId5" Type="http://schemas.openxmlformats.org/officeDocument/2006/relationships/image" Target="../media/image21.png"/><Relationship Id="rId10" Type="http://schemas.openxmlformats.org/officeDocument/2006/relationships/image" Target="../media/image26.png"/><Relationship Id="rId4" Type="http://schemas.openxmlformats.org/officeDocument/2006/relationships/image" Target="../media/image1.emf"/><Relationship Id="rId9" Type="http://schemas.openxmlformats.org/officeDocument/2006/relationships/image" Target="../media/image25.png"/><Relationship Id="rId14" Type="http://schemas.openxmlformats.org/officeDocument/2006/relationships/image" Target="../media/image3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3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2.xml"/><Relationship Id="rId6" Type="http://schemas.openxmlformats.org/officeDocument/2006/relationships/image" Target="../media/image3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8E194EE-1398-4C9C-443B-901908CA22F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53646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E194EE-1398-4C9C-443B-901908CA22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1DF3D98-3C30-4CFC-8643-C81E829C8C2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67493" y="1122363"/>
            <a:ext cx="7096933" cy="2387600"/>
          </a:xfrm>
        </p:spPr>
        <p:txBody>
          <a:bodyPr vert="horz"/>
          <a:lstStyle/>
          <a:p>
            <a:r>
              <a:rPr lang="en-US" dirty="0"/>
              <a:t>Kick off Meeting 2024-2025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068D447-28D3-4F5F-B2DC-FD67E901586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67493" y="3602037"/>
            <a:ext cx="9500507" cy="1786039"/>
          </a:xfrm>
        </p:spPr>
        <p:txBody>
          <a:bodyPr/>
          <a:lstStyle/>
          <a:p>
            <a:r>
              <a:rPr lang="en-US" sz="2400" dirty="0"/>
              <a:t>Abhi Kohli, Section Chair </a:t>
            </a:r>
          </a:p>
          <a:p>
            <a:r>
              <a:rPr lang="en-US" sz="2000" dirty="0"/>
              <a:t>Subsurface &amp; Area Development Lead, Shell</a:t>
            </a:r>
          </a:p>
          <a:p>
            <a:endParaRPr lang="en-US" sz="2000" dirty="0"/>
          </a:p>
          <a:p>
            <a:r>
              <a:rPr lang="en-US" sz="2800" b="1" dirty="0"/>
              <a:t>Presentation starts at 10:30 am</a:t>
            </a:r>
          </a:p>
          <a:p>
            <a:endParaRPr lang="en-US" sz="2400" dirty="0"/>
          </a:p>
          <a:p>
            <a:r>
              <a:rPr lang="en-US" sz="2400" dirty="0"/>
              <a:t>August 30, 2024</a:t>
            </a:r>
          </a:p>
        </p:txBody>
      </p:sp>
    </p:spTree>
    <p:extLst>
      <p:ext uri="{BB962C8B-B14F-4D97-AF65-F5344CB8AC3E}">
        <p14:creationId xmlns:p14="http://schemas.microsoft.com/office/powerpoint/2010/main" val="225930889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93EF8EB-14FF-C5DD-55D5-83CA2BA1E91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83658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0" imgH="350" progId="TCLayout.ActiveDocument.1">
                  <p:embed/>
                </p:oleObj>
              </mc:Choice>
              <mc:Fallback>
                <p:oleObj name="think-cell Slide" r:id="rId4" imgW="350" imgH="35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93EF8EB-14FF-C5DD-55D5-83CA2BA1E9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301209B-13A3-8E78-3FBB-E085B8B20A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6926" y="376768"/>
            <a:ext cx="9779183" cy="838844"/>
          </a:xfrm>
        </p:spPr>
        <p:txBody>
          <a:bodyPr vert="horz"/>
          <a:lstStyle/>
          <a:p>
            <a:r>
              <a:rPr lang="en-US" dirty="0"/>
              <a:t>Student Membership Status</a:t>
            </a:r>
          </a:p>
        </p:txBody>
      </p:sp>
      <p:pic>
        <p:nvPicPr>
          <p:cNvPr id="9" name="Picture 8" descr="A graph of students by month&#10;&#10;Description automatically generated">
            <a:extLst>
              <a:ext uri="{FF2B5EF4-FFF2-40B4-BE49-F238E27FC236}">
                <a16:creationId xmlns:a16="http://schemas.microsoft.com/office/drawing/2014/main" id="{9FB6225E-0863-1AF7-2E18-915AB6DE321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598" y="2263814"/>
            <a:ext cx="5857705" cy="3205906"/>
          </a:xfrm>
          <a:prstGeom prst="rect">
            <a:avLst/>
          </a:prstGeom>
        </p:spPr>
      </p:pic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463DAC5D-BC08-48CF-D6A3-DD7A37D15F3D}"/>
              </a:ext>
            </a:extLst>
          </p:cNvPr>
          <p:cNvCxnSpPr>
            <a:cxnSpLocks/>
          </p:cNvCxnSpPr>
          <p:nvPr/>
        </p:nvCxnSpPr>
        <p:spPr>
          <a:xfrm>
            <a:off x="3182602" y="2895953"/>
            <a:ext cx="0" cy="253359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A6B98389-09CB-3513-E1CA-9D1AAF0D85DB}"/>
              </a:ext>
            </a:extLst>
          </p:cNvPr>
          <p:cNvCxnSpPr>
            <a:cxnSpLocks/>
          </p:cNvCxnSpPr>
          <p:nvPr/>
        </p:nvCxnSpPr>
        <p:spPr>
          <a:xfrm flipH="1">
            <a:off x="3358802" y="2895953"/>
            <a:ext cx="233703" cy="214483"/>
          </a:xfrm>
          <a:prstGeom prst="straightConnector1">
            <a:avLst/>
          </a:prstGeom>
          <a:ln w="25400">
            <a:solidFill>
              <a:srgbClr val="92D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A801A536-ADC4-C095-F072-FEA10E5169EE}"/>
              </a:ext>
            </a:extLst>
          </p:cNvPr>
          <p:cNvSpPr txBox="1"/>
          <p:nvPr/>
        </p:nvSpPr>
        <p:spPr>
          <a:xfrm>
            <a:off x="2941093" y="2634345"/>
            <a:ext cx="14906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36 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833</a:t>
            </a:r>
          </a:p>
        </p:txBody>
      </p:sp>
      <p:pic>
        <p:nvPicPr>
          <p:cNvPr id="16" name="Picture 15" descr="A table with numbers and text&#10;&#10;Description automatically generated">
            <a:extLst>
              <a:ext uri="{FF2B5EF4-FFF2-40B4-BE49-F238E27FC236}">
                <a16:creationId xmlns:a16="http://schemas.microsoft.com/office/drawing/2014/main" id="{9D67FE74-0CCE-D444-8C47-B62CA98C92E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4920" y="2048881"/>
            <a:ext cx="5987566" cy="3314855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ABE47F61-EA70-43E6-5676-9D894119A0A8}"/>
              </a:ext>
            </a:extLst>
          </p:cNvPr>
          <p:cNvSpPr txBox="1"/>
          <p:nvPr/>
        </p:nvSpPr>
        <p:spPr>
          <a:xfrm>
            <a:off x="1014248" y="5524138"/>
            <a:ext cx="10163503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Big increase in number of students compared to previous month. Higher student to professional conversion compared to previous months (Jan 5.05%, Feb 8.13%, March 10.16%, April 10.83%, May 11.29%, July 12.12%) .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AE43F39-C996-C0C0-921B-EFB8FC78A3D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F7F526BB-EDE6-4BA8-892E-D8B4D7601BD1}" type="datetime1">
              <a:rPr lang="en-US" smtClean="0"/>
              <a:t>8/30/2024</a:t>
            </a:fld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A34DCA8-1E18-1871-3ECD-FFD612067C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BFAAB774-8E14-3080-6AF6-944A9311C8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PE-GCS KICK-OFF MEETING 2024-202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896279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C8EB0AF7-6381-7680-B8B2-4FC5B396C8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28385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0" imgH="350" progId="TCLayout.ActiveDocument.1">
                  <p:embed/>
                </p:oleObj>
              </mc:Choice>
              <mc:Fallback>
                <p:oleObj name="think-cell Slide" r:id="rId3" imgW="350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8EB0AF7-6381-7680-B8B2-4FC5B396C8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38EF96E-F5C2-4706-8093-072461FC64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986" y="136525"/>
            <a:ext cx="9779183" cy="701675"/>
          </a:xfrm>
        </p:spPr>
        <p:txBody>
          <a:bodyPr vert="horz" anchor="t"/>
          <a:lstStyle/>
          <a:p>
            <a:r>
              <a:rPr lang="en-US" dirty="0"/>
              <a:t>Meet the team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7D3C239-941F-46D8-9A25-CC0589FA1B5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A14A5C64-F247-4226-A490-1A2BAF8E6C93}" type="datetime1">
              <a:rPr lang="en-US" smtClean="0"/>
              <a:t>8/30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5E35B5-C2B4-4604-8B7F-DEC40AE1E7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PE-GCS KICK-OFF MEETING 2024-2025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915E789-F925-46E7-B070-E97B96F2065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11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2EEC72F-8104-ABC3-262E-B596B6DDE15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4443" y="917889"/>
            <a:ext cx="5368438" cy="543846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B658D70-8568-3EF0-AC1C-BD5BEAE173B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81399" y="917889"/>
            <a:ext cx="5781683" cy="55097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512149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5A8C17D5-062C-A5FC-B652-2426BF775C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21179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0" imgH="350" progId="TCLayout.ActiveDocument.1">
                  <p:embed/>
                </p:oleObj>
              </mc:Choice>
              <mc:Fallback>
                <p:oleObj name="think-cell Slide" r:id="rId3" imgW="350" imgH="350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A8C17D5-062C-A5FC-B652-2426BF775C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58567178-8A38-1140-E68A-E86C2FCA14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67492" y="381001"/>
            <a:ext cx="9779183" cy="637388"/>
          </a:xfrm>
        </p:spPr>
        <p:txBody>
          <a:bodyPr vert="horz"/>
          <a:lstStyle/>
          <a:p>
            <a:r>
              <a:rPr lang="en-GB" dirty="0"/>
              <a:t>2024-2025 Board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D110736-F677-E6D3-D402-0302A195EB5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48A54A4-38A4-4932-BA35-1977E9C0A635}" type="datetime1">
              <a:rPr lang="en-US" smtClean="0"/>
              <a:t>8/30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DAC8109-3CB3-E253-0710-45CDB833CEC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PE-GCS KICK-OFF MEETING 2024-2025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BE9093-AF2D-F723-2A5E-73F762D0DA2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12</a:t>
            </a:fld>
            <a:endParaRPr lang="en-US" dirty="0"/>
          </a:p>
        </p:txBody>
      </p:sp>
      <p:graphicFrame>
        <p:nvGraphicFramePr>
          <p:cNvPr id="26" name="Table 25">
            <a:extLst>
              <a:ext uri="{FF2B5EF4-FFF2-40B4-BE49-F238E27FC236}">
                <a16:creationId xmlns:a16="http://schemas.microsoft.com/office/drawing/2014/main" id="{126A5053-CD74-45F0-D0CB-7E03015AAAF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9339017"/>
              </p:ext>
            </p:extLst>
          </p:nvPr>
        </p:nvGraphicFramePr>
        <p:xfrm>
          <a:off x="106347" y="1135202"/>
          <a:ext cx="5427505" cy="3060672"/>
        </p:xfrm>
        <a:graphic>
          <a:graphicData uri="http://schemas.openxmlformats.org/drawingml/2006/table">
            <a:tbl>
              <a:tblPr/>
              <a:tblGrid>
                <a:gridCol w="514763">
                  <a:extLst>
                    <a:ext uri="{9D8B030D-6E8A-4147-A177-3AD203B41FA5}">
                      <a16:colId xmlns:a16="http://schemas.microsoft.com/office/drawing/2014/main" val="2650336567"/>
                    </a:ext>
                  </a:extLst>
                </a:gridCol>
                <a:gridCol w="1487488">
                  <a:extLst>
                    <a:ext uri="{9D8B030D-6E8A-4147-A177-3AD203B41FA5}">
                      <a16:colId xmlns:a16="http://schemas.microsoft.com/office/drawing/2014/main" val="997804781"/>
                    </a:ext>
                  </a:extLst>
                </a:gridCol>
                <a:gridCol w="1173163">
                  <a:extLst>
                    <a:ext uri="{9D8B030D-6E8A-4147-A177-3AD203B41FA5}">
                      <a16:colId xmlns:a16="http://schemas.microsoft.com/office/drawing/2014/main" val="3010976625"/>
                    </a:ext>
                  </a:extLst>
                </a:gridCol>
                <a:gridCol w="2252091">
                  <a:extLst>
                    <a:ext uri="{9D8B030D-6E8A-4147-A177-3AD203B41FA5}">
                      <a16:colId xmlns:a16="http://schemas.microsoft.com/office/drawing/2014/main" val="2520988819"/>
                    </a:ext>
                  </a:extLst>
                </a:gridCol>
              </a:tblGrid>
              <a:tr h="226032">
                <a:tc>
                  <a:txBody>
                    <a:bodyPr/>
                    <a:lstStyle/>
                    <a:p>
                      <a:pPr algn="l" fontAlgn="ctr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sition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4-2025 BO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mail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689319"/>
                  </a:ext>
                </a:extLst>
              </a:tr>
              <a:tr h="143505">
                <a:tc rowSpan="16">
                  <a:txBody>
                    <a:bodyPr/>
                    <a:lstStyle/>
                    <a:p>
                      <a:pPr algn="ctr" fontAlgn="ctr"/>
                      <a:r>
                        <a:rPr lang="en-US" sz="1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ard of Directors</a:t>
                      </a:r>
                    </a:p>
                  </a:txBody>
                  <a:tcPr marL="9525" marR="9525" marT="9525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ir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bhi Kohli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 dirty="0">
                          <a:solidFill>
                            <a:srgbClr val="0563C1"/>
                          </a:solidFill>
                          <a:effectLst/>
                          <a:latin typeface="Calibri" panose="020F0502020204030204" pitchFamily="34" charset="0"/>
                          <a:hlinkClick r:id="rId5"/>
                        </a:rPr>
                        <a:t>Abhinandan.Kohli@shell.com</a:t>
                      </a:r>
                      <a:endParaRPr lang="en-US" sz="1100" b="0" i="0" u="sng" strike="noStrike" dirty="0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11660831"/>
                  </a:ext>
                </a:extLst>
              </a:tr>
              <a:tr h="143505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ice Chair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harath Rajapp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563C1"/>
                          </a:solidFill>
                          <a:effectLst/>
                          <a:latin typeface="Calibri" panose="020F0502020204030204" pitchFamily="34" charset="0"/>
                          <a:hlinkClick r:id="rId6"/>
                        </a:rPr>
                        <a:t>Bharath.Rajappa@conocophillips.com</a:t>
                      </a:r>
                      <a:endParaRPr lang="en-US" sz="11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5247821"/>
                  </a:ext>
                </a:extLst>
              </a:tr>
              <a:tr h="143505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st Chair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ex Martinez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563C1"/>
                          </a:solidFill>
                          <a:effectLst/>
                          <a:latin typeface="Calibri" panose="020F0502020204030204" pitchFamily="34" charset="0"/>
                          <a:hlinkClick r:id="rId7"/>
                        </a:rPr>
                        <a:t>amartinez@demac.com</a:t>
                      </a:r>
                      <a:endParaRPr lang="en-US" sz="11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164870"/>
                  </a:ext>
                </a:extLst>
              </a:tr>
              <a:tr h="143505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reasurer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rek Key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563C1"/>
                          </a:solidFill>
                          <a:effectLst/>
                          <a:latin typeface="Calibri" panose="020F0502020204030204" pitchFamily="34" charset="0"/>
                          <a:hlinkClick r:id="rId8"/>
                        </a:rPr>
                        <a:t>Derek.Key@corelab.com</a:t>
                      </a:r>
                      <a:endParaRPr lang="en-US" sz="11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7933227"/>
                  </a:ext>
                </a:extLst>
              </a:tr>
              <a:tr h="143505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ice Treasurer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ue Smith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563C1"/>
                          </a:solidFill>
                          <a:effectLst/>
                          <a:latin typeface="Calibri" panose="020F0502020204030204" pitchFamily="34" charset="0"/>
                          <a:hlinkClick r:id="rId9"/>
                        </a:rPr>
                        <a:t>pruee.smith@bp.com</a:t>
                      </a:r>
                      <a:endParaRPr lang="en-US" sz="11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59301443"/>
                  </a:ext>
                </a:extLst>
              </a:tr>
              <a:tr h="143505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cretary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bora Martogi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563C1"/>
                          </a:solidFill>
                          <a:effectLst/>
                          <a:latin typeface="Calibri" panose="020F0502020204030204" pitchFamily="34" charset="0"/>
                          <a:hlinkClick r:id="rId10"/>
                        </a:rPr>
                        <a:t>Debora.Martogi@Geosyntec.com</a:t>
                      </a:r>
                      <a:endParaRPr lang="en-US" sz="11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3464202"/>
                  </a:ext>
                </a:extLst>
              </a:tr>
              <a:tr h="143505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unications Chair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omas Shattuck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563C1"/>
                          </a:solidFill>
                          <a:effectLst/>
                          <a:latin typeface="Calibri" panose="020F0502020204030204" pitchFamily="34" charset="0"/>
                          <a:hlinkClick r:id="rId11"/>
                        </a:rPr>
                        <a:t>Thomas.Shattuck@cliffordchance.com</a:t>
                      </a:r>
                      <a:endParaRPr lang="en-US" sz="11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02340303"/>
                  </a:ext>
                </a:extLst>
              </a:tr>
              <a:tr h="143505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unications V-Chair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aylor Butler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563C1"/>
                          </a:solidFill>
                          <a:effectLst/>
                          <a:latin typeface="Calibri" panose="020F0502020204030204" pitchFamily="34" charset="0"/>
                          <a:hlinkClick r:id="rId12"/>
                        </a:rPr>
                        <a:t>TButler@sabineoil.com</a:t>
                      </a:r>
                      <a:endParaRPr lang="en-US" sz="11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4062522"/>
                  </a:ext>
                </a:extLst>
              </a:tr>
              <a:tr h="143505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ducatio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mi Souther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563C1"/>
                          </a:solidFill>
                          <a:effectLst/>
                          <a:latin typeface="Calibri" panose="020F0502020204030204" pitchFamily="34" charset="0"/>
                          <a:hlinkClick r:id="rId13"/>
                        </a:rPr>
                        <a:t>namisouthern@yahoo.com</a:t>
                      </a:r>
                      <a:endParaRPr lang="en-US" sz="11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1706924"/>
                  </a:ext>
                </a:extLst>
              </a:tr>
              <a:tr h="133459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ducation- VC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nna Wei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 dirty="0">
                          <a:solidFill>
                            <a:srgbClr val="0563C1"/>
                          </a:solidFill>
                          <a:effectLst/>
                          <a:latin typeface="Calibri" panose="020F0502020204030204" pitchFamily="34" charset="0"/>
                          <a:hlinkClick r:id="rId14"/>
                        </a:rPr>
                        <a:t>XWei7@slb.com</a:t>
                      </a:r>
                      <a:endParaRPr lang="en-US" sz="1100" b="0" i="0" u="sng" strike="noStrike" dirty="0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73025945"/>
                  </a:ext>
                </a:extLst>
              </a:tr>
              <a:tr h="143505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grams Chair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yavrat Shukhl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 dirty="0">
                          <a:solidFill>
                            <a:srgbClr val="0563C1"/>
                          </a:solidFill>
                          <a:effectLst/>
                          <a:latin typeface="Calibri" panose="020F0502020204030204" pitchFamily="34" charset="0"/>
                        </a:rPr>
                        <a:t>pshukla5@slb.com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3190225"/>
                  </a:ext>
                </a:extLst>
              </a:tr>
              <a:tr h="143505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grams Vice Chair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d Senters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563C1"/>
                          </a:solidFill>
                          <a:effectLst/>
                          <a:latin typeface="Calibri" panose="020F0502020204030204" pitchFamily="34" charset="0"/>
                          <a:hlinkClick r:id="rId15"/>
                        </a:rPr>
                        <a:t>chad.senters@corelab.com</a:t>
                      </a:r>
                      <a:endParaRPr lang="en-US" sz="11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04636196"/>
                  </a:ext>
                </a:extLst>
              </a:tr>
              <a:tr h="143505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oung Professional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ilberto Marmolejo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563C1"/>
                          </a:solidFill>
                          <a:effectLst/>
                          <a:latin typeface="Calibri" panose="020F0502020204030204" pitchFamily="34" charset="0"/>
                          <a:hlinkClick r:id="rId16"/>
                        </a:rPr>
                        <a:t>marmolejog1@gmail.com</a:t>
                      </a:r>
                      <a:endParaRPr lang="en-US" sz="11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71437239"/>
                  </a:ext>
                </a:extLst>
              </a:tr>
              <a:tr h="143505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rector at Large 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ucy Fisher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563C1"/>
                          </a:solidFill>
                          <a:effectLst/>
                          <a:latin typeface="Calibri" panose="020F0502020204030204" pitchFamily="34" charset="0"/>
                          <a:hlinkClick r:id="rId17"/>
                        </a:rPr>
                        <a:t>Lucy.Fisher@bpx.com</a:t>
                      </a:r>
                      <a:endParaRPr lang="en-US" sz="11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25260672"/>
                  </a:ext>
                </a:extLst>
              </a:tr>
              <a:tr h="143505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rector at Large 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iteja Dutt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563C1"/>
                          </a:solidFill>
                          <a:effectLst/>
                          <a:latin typeface="Calibri" panose="020F0502020204030204" pitchFamily="34" charset="0"/>
                          <a:hlinkClick r:id="rId18"/>
                        </a:rPr>
                        <a:t>riteja.dutta@enverus.com</a:t>
                      </a:r>
                      <a:endParaRPr lang="en-US" sz="11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22718416"/>
                  </a:ext>
                </a:extLst>
              </a:tr>
              <a:tr h="143505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meritus Advisor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ill Davi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 dirty="0">
                          <a:solidFill>
                            <a:srgbClr val="0563C1"/>
                          </a:solidFill>
                          <a:effectLst/>
                          <a:latin typeface="Calibri" panose="020F0502020204030204" pitchFamily="34" charset="0"/>
                          <a:hlinkClick r:id="rId19"/>
                        </a:rPr>
                        <a:t>bdavis0819@gmail.com</a:t>
                      </a:r>
                      <a:endParaRPr lang="en-US" sz="1100" b="0" i="0" u="sng" strike="noStrike" dirty="0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58368546"/>
                  </a:ext>
                </a:extLst>
              </a:tr>
            </a:tbl>
          </a:graphicData>
        </a:graphic>
      </p:graphicFrame>
      <p:graphicFrame>
        <p:nvGraphicFramePr>
          <p:cNvPr id="29" name="Table 28">
            <a:extLst>
              <a:ext uri="{FF2B5EF4-FFF2-40B4-BE49-F238E27FC236}">
                <a16:creationId xmlns:a16="http://schemas.microsoft.com/office/drawing/2014/main" id="{7DE643BE-4C2A-7B3B-C224-CB874660344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54058627"/>
              </p:ext>
            </p:extLst>
          </p:nvPr>
        </p:nvGraphicFramePr>
        <p:xfrm>
          <a:off x="5794015" y="1135202"/>
          <a:ext cx="6291638" cy="4675049"/>
        </p:xfrm>
        <a:graphic>
          <a:graphicData uri="http://schemas.openxmlformats.org/drawingml/2006/table">
            <a:tbl>
              <a:tblPr/>
              <a:tblGrid>
                <a:gridCol w="468849">
                  <a:extLst>
                    <a:ext uri="{9D8B030D-6E8A-4147-A177-3AD203B41FA5}">
                      <a16:colId xmlns:a16="http://schemas.microsoft.com/office/drawing/2014/main" val="2702412784"/>
                    </a:ext>
                  </a:extLst>
                </a:gridCol>
                <a:gridCol w="2252184">
                  <a:extLst>
                    <a:ext uri="{9D8B030D-6E8A-4147-A177-3AD203B41FA5}">
                      <a16:colId xmlns:a16="http://schemas.microsoft.com/office/drawing/2014/main" val="1523117357"/>
                    </a:ext>
                  </a:extLst>
                </a:gridCol>
                <a:gridCol w="1193165">
                  <a:extLst>
                    <a:ext uri="{9D8B030D-6E8A-4147-A177-3AD203B41FA5}">
                      <a16:colId xmlns:a16="http://schemas.microsoft.com/office/drawing/2014/main" val="1784096841"/>
                    </a:ext>
                  </a:extLst>
                </a:gridCol>
                <a:gridCol w="2377440">
                  <a:extLst>
                    <a:ext uri="{9D8B030D-6E8A-4147-A177-3AD203B41FA5}">
                      <a16:colId xmlns:a16="http://schemas.microsoft.com/office/drawing/2014/main" val="2241044255"/>
                    </a:ext>
                  </a:extLst>
                </a:gridCol>
              </a:tblGrid>
              <a:tr h="18900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492" marR="8492" marT="849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sition</a:t>
                      </a:r>
                    </a:p>
                  </a:txBody>
                  <a:tcPr marL="8492" marR="8492" marT="849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4-2025 BOD</a:t>
                      </a:r>
                    </a:p>
                  </a:txBody>
                  <a:tcPr marL="8492" marR="8492" marT="849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mail</a:t>
                      </a:r>
                    </a:p>
                  </a:txBody>
                  <a:tcPr marL="8492" marR="8492" marT="849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3421772"/>
                  </a:ext>
                </a:extLst>
              </a:tr>
              <a:tr h="189003">
                <a:tc rowSpan="11"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ittees</a:t>
                      </a:r>
                    </a:p>
                  </a:txBody>
                  <a:tcPr marL="8492" marR="8492" marT="8492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WARDS BANQUET </a:t>
                      </a:r>
                    </a:p>
                  </a:txBody>
                  <a:tcPr marL="8492" marR="8492" marT="849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harath Rajappa</a:t>
                      </a:r>
                    </a:p>
                  </a:txBody>
                  <a:tcPr marL="8492" marR="8492" marT="849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sng" strike="noStrike">
                          <a:solidFill>
                            <a:srgbClr val="0563C1"/>
                          </a:solidFill>
                          <a:effectLst/>
                          <a:latin typeface="Calibri" panose="020F0502020204030204" pitchFamily="34" charset="0"/>
                          <a:hlinkClick r:id="rId6"/>
                        </a:rPr>
                        <a:t>Bharath.Rajappa@conocophillips.com</a:t>
                      </a:r>
                      <a:endParaRPr lang="en-US" sz="10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492" marR="8492" marT="84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6981747"/>
                  </a:ext>
                </a:extLst>
              </a:tr>
              <a:tr h="17488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REER ADVANCEMENT NETWORK (CAN)</a:t>
                      </a:r>
                    </a:p>
                  </a:txBody>
                  <a:tcPr marL="8492" marR="8492" marT="849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ennifer Calderin</a:t>
                      </a:r>
                    </a:p>
                  </a:txBody>
                  <a:tcPr marL="8492" marR="8492" marT="849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sng" strike="noStrike" dirty="0">
                          <a:solidFill>
                            <a:srgbClr val="0563C1"/>
                          </a:solidFill>
                          <a:effectLst/>
                          <a:latin typeface="Calibri" panose="020F0502020204030204" pitchFamily="34" charset="0"/>
                          <a:hlinkClick r:id="rId20"/>
                        </a:rPr>
                        <a:t>Jennifer.Calderin@wsp.com</a:t>
                      </a:r>
                      <a:endParaRPr lang="en-US" sz="1000" b="0" i="0" u="sng" strike="noStrike" dirty="0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492" marR="8492" marT="849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152780"/>
                  </a:ext>
                </a:extLst>
              </a:tr>
              <a:tr h="189003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UNITY SERVICES</a:t>
                      </a:r>
                    </a:p>
                  </a:txBody>
                  <a:tcPr marL="8492" marR="8492" marT="849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varo Gomez</a:t>
                      </a:r>
                    </a:p>
                  </a:txBody>
                  <a:tcPr marL="8492" marR="8492" marT="849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sng" strike="noStrike" dirty="0">
                          <a:solidFill>
                            <a:srgbClr val="0563C1"/>
                          </a:solidFill>
                          <a:effectLst/>
                          <a:latin typeface="Calibri" panose="020F0502020204030204" pitchFamily="34" charset="0"/>
                          <a:hlinkClick r:id="rId21"/>
                        </a:rPr>
                        <a:t>Alvaro.Gomez@bakerhughes.com</a:t>
                      </a:r>
                      <a:endParaRPr lang="en-US" sz="1000" b="0" i="0" u="sng" strike="noStrike" dirty="0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492" marR="8492" marT="84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0580738"/>
                  </a:ext>
                </a:extLst>
              </a:tr>
              <a:tr h="189003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TINUING EDUCATION CHAIR</a:t>
                      </a:r>
                    </a:p>
                  </a:txBody>
                  <a:tcPr marL="8492" marR="8492" marT="849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mer Hanif</a:t>
                      </a:r>
                    </a:p>
                  </a:txBody>
                  <a:tcPr marL="8492" marR="8492" marT="849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sng" strike="noStrike">
                          <a:solidFill>
                            <a:srgbClr val="0563C1"/>
                          </a:solidFill>
                          <a:effectLst/>
                          <a:latin typeface="Calibri" panose="020F0502020204030204" pitchFamily="34" charset="0"/>
                          <a:hlinkClick r:id="rId22"/>
                        </a:rPr>
                        <a:t>Amer.Hanif@bakerhughes.com</a:t>
                      </a:r>
                      <a:endParaRPr lang="en-US" sz="10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492" marR="8492" marT="849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1021146"/>
                  </a:ext>
                </a:extLst>
              </a:tr>
              <a:tr h="189003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SP SYMPOSIUM </a:t>
                      </a:r>
                    </a:p>
                  </a:txBody>
                  <a:tcPr marL="8492" marR="8492" marT="849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hauna Noonan</a:t>
                      </a:r>
                    </a:p>
                  </a:txBody>
                  <a:tcPr marL="8492" marR="8492" marT="849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sng" strike="noStrike">
                          <a:solidFill>
                            <a:srgbClr val="0563C1"/>
                          </a:solidFill>
                          <a:effectLst/>
                          <a:latin typeface="Calibri" panose="020F0502020204030204" pitchFamily="34" charset="0"/>
                          <a:hlinkClick r:id="rId23"/>
                        </a:rPr>
                        <a:t>Shauna_Noonan@oxy.com</a:t>
                      </a:r>
                      <a:endParaRPr lang="en-US" sz="10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492" marR="8492" marT="849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57092165"/>
                  </a:ext>
                </a:extLst>
              </a:tr>
              <a:tr h="189003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OLF CHAIR</a:t>
                      </a:r>
                    </a:p>
                  </a:txBody>
                  <a:tcPr marL="8492" marR="8492" marT="849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uan Grimaldi</a:t>
                      </a:r>
                    </a:p>
                  </a:txBody>
                  <a:tcPr marL="8492" marR="8492" marT="849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sng" strike="noStrike">
                          <a:solidFill>
                            <a:srgbClr val="0563C1"/>
                          </a:solidFill>
                          <a:effectLst/>
                          <a:latin typeface="Calibri" panose="020F0502020204030204" pitchFamily="34" charset="0"/>
                          <a:hlinkClick r:id="rId24"/>
                        </a:rPr>
                        <a:t>JGrimaldi@petro-amigos.com </a:t>
                      </a:r>
                      <a:endParaRPr lang="en-US" sz="10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492" marR="8492" marT="849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6981445"/>
                  </a:ext>
                </a:extLst>
              </a:tr>
              <a:tr h="189003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MBERSHIP</a:t>
                      </a:r>
                    </a:p>
                  </a:txBody>
                  <a:tcPr marL="8492" marR="8492" marT="849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lly De Nicolais</a:t>
                      </a:r>
                    </a:p>
                  </a:txBody>
                  <a:tcPr marL="8492" marR="8492" marT="849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sng" strike="noStrike">
                          <a:solidFill>
                            <a:srgbClr val="0563C1"/>
                          </a:solidFill>
                          <a:effectLst/>
                          <a:latin typeface="Calibri" panose="020F0502020204030204" pitchFamily="34" charset="0"/>
                          <a:hlinkClick r:id="rId25"/>
                        </a:rPr>
                        <a:t>nazuaje@hotmail.com</a:t>
                      </a:r>
                      <a:endParaRPr lang="en-US" sz="10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492" marR="8492" marT="849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7321081"/>
                  </a:ext>
                </a:extLst>
              </a:tr>
              <a:tr h="189003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MBERSHIP VICE CHAIR</a:t>
                      </a:r>
                    </a:p>
                  </a:txBody>
                  <a:tcPr marL="8492" marR="8492" marT="849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ura Santos</a:t>
                      </a:r>
                    </a:p>
                  </a:txBody>
                  <a:tcPr marL="8492" marR="8492" marT="849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sng" strike="noStrike">
                          <a:solidFill>
                            <a:srgbClr val="0563C1"/>
                          </a:solidFill>
                          <a:effectLst/>
                          <a:latin typeface="Calibri" panose="020F0502020204030204" pitchFamily="34" charset="0"/>
                          <a:hlinkClick r:id="rId26"/>
                        </a:rPr>
                        <a:t>laura.santos@cmgl.ca</a:t>
                      </a:r>
                      <a:endParaRPr lang="en-US" sz="10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492" marR="8492" marT="84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28475112"/>
                  </a:ext>
                </a:extLst>
              </a:tr>
              <a:tr h="189003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CHOLARSHIP </a:t>
                      </a:r>
                    </a:p>
                  </a:txBody>
                  <a:tcPr marL="8492" marR="8492" marT="849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ita Okoroafor</a:t>
                      </a:r>
                    </a:p>
                  </a:txBody>
                  <a:tcPr marL="8492" marR="8492" marT="849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sng" strike="noStrike">
                          <a:solidFill>
                            <a:srgbClr val="0563C1"/>
                          </a:solidFill>
                          <a:effectLst/>
                          <a:latin typeface="Calibri" panose="020F0502020204030204" pitchFamily="34" charset="0"/>
                        </a:rPr>
                        <a:t>ritaok@exchange.tamu.edu</a:t>
                      </a:r>
                      <a:endParaRPr lang="en-US" sz="1000" b="0" i="0" u="sng" strike="noStrike" dirty="0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492" marR="8492" marT="84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06017684"/>
                  </a:ext>
                </a:extLst>
              </a:tr>
              <a:tr h="189003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ONSORSHIP SOCIAL CHAIR</a:t>
                      </a:r>
                    </a:p>
                  </a:txBody>
                  <a:tcPr marL="8492" marR="8492" marT="849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eannie Chung</a:t>
                      </a:r>
                    </a:p>
                  </a:txBody>
                  <a:tcPr marL="8492" marR="8492" marT="849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sng" strike="noStrike" dirty="0">
                          <a:solidFill>
                            <a:srgbClr val="0563C1"/>
                          </a:solidFill>
                          <a:effectLst/>
                          <a:latin typeface="Calibri" panose="020F0502020204030204" pitchFamily="34" charset="0"/>
                          <a:hlinkClick r:id="rId27"/>
                        </a:rPr>
                        <a:t>jchung1727@gmail.com </a:t>
                      </a:r>
                      <a:endParaRPr lang="en-US" sz="1000" b="0" i="0" u="sng" strike="noStrike" dirty="0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492" marR="8492" marT="84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3952761"/>
                  </a:ext>
                </a:extLst>
              </a:tr>
              <a:tr h="189003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ORTING CLAYS</a:t>
                      </a:r>
                    </a:p>
                  </a:txBody>
                  <a:tcPr marL="8492" marR="8492" marT="849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ue Smith</a:t>
                      </a:r>
                    </a:p>
                  </a:txBody>
                  <a:tcPr marL="8492" marR="8492" marT="849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sng" strike="noStrike">
                          <a:solidFill>
                            <a:srgbClr val="0563C1"/>
                          </a:solidFill>
                          <a:effectLst/>
                          <a:latin typeface="Calibri" panose="020F0502020204030204" pitchFamily="34" charset="0"/>
                          <a:hlinkClick r:id="rId9"/>
                        </a:rPr>
                        <a:t>pruee.smith@bp.com</a:t>
                      </a:r>
                      <a:endParaRPr lang="en-US" sz="10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492" marR="8492" marT="84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90869904"/>
                  </a:ext>
                </a:extLst>
              </a:tr>
              <a:tr h="18900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492" marR="8492" marT="849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492" marR="8492" marT="849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492" marR="8492" marT="849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492" marR="8492" marT="8492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154955"/>
                  </a:ext>
                </a:extLst>
              </a:tr>
              <a:tr h="189003">
                <a:tc rowSpan="11"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udy Groups</a:t>
                      </a:r>
                    </a:p>
                  </a:txBody>
                  <a:tcPr marL="8492" marR="8492" marT="8492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USINESS DEVELOPMENT</a:t>
                      </a:r>
                    </a:p>
                  </a:txBody>
                  <a:tcPr marL="8492" marR="8492" marT="849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gan Jones</a:t>
                      </a:r>
                    </a:p>
                  </a:txBody>
                  <a:tcPr marL="8492" marR="8492" marT="849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sng" strike="noStrike">
                          <a:solidFill>
                            <a:srgbClr val="0563C1"/>
                          </a:solidFill>
                          <a:effectLst/>
                          <a:latin typeface="Calibri" panose="020F0502020204030204" pitchFamily="34" charset="0"/>
                          <a:hlinkClick r:id="rId28"/>
                        </a:rPr>
                        <a:t>mjones@gepllc.com </a:t>
                      </a:r>
                      <a:endParaRPr lang="en-US" sz="10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492" marR="8492" marT="84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2300768"/>
                  </a:ext>
                </a:extLst>
              </a:tr>
              <a:tr h="189003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LETIONS &amp; PRODUCTION</a:t>
                      </a:r>
                    </a:p>
                  </a:txBody>
                  <a:tcPr marL="8492" marR="8492" marT="849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hsen Babazadeh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 dirty="0">
                          <a:solidFill>
                            <a:srgbClr val="0563C1"/>
                          </a:solidFill>
                          <a:effectLst/>
                          <a:latin typeface="Calibri" panose="020F0502020204030204" pitchFamily="34" charset="0"/>
                          <a:hlinkClick r:id="rId29"/>
                        </a:rPr>
                        <a:t>Mohsen.Babazadeh@conocophillips.com</a:t>
                      </a:r>
                      <a:endParaRPr lang="en-US" sz="1100" b="0" i="0" u="sng" strike="noStrike" dirty="0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5055646"/>
                  </a:ext>
                </a:extLst>
              </a:tr>
              <a:tr h="342096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UTATIONAL FLUID DYNAMICS (CFD)</a:t>
                      </a:r>
                    </a:p>
                  </a:txBody>
                  <a:tcPr marL="8492" marR="8492" marT="849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dhusuden Agrawal</a:t>
                      </a:r>
                    </a:p>
                  </a:txBody>
                  <a:tcPr marL="8492" marR="8492" marT="849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sng" strike="noStrike" dirty="0">
                          <a:solidFill>
                            <a:srgbClr val="0563C1"/>
                          </a:solidFill>
                          <a:effectLst/>
                          <a:latin typeface="Calibri" panose="020F0502020204030204" pitchFamily="34" charset="0"/>
                          <a:hlinkClick r:id="rId30"/>
                        </a:rPr>
                        <a:t>Madhusuden.Agrawal@bp.com </a:t>
                      </a:r>
                      <a:endParaRPr lang="en-US" sz="1000" b="0" i="0" u="sng" strike="noStrike" dirty="0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492" marR="8492" marT="849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0768283"/>
                  </a:ext>
                </a:extLst>
              </a:tr>
              <a:tr h="189003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A ANALYTICS </a:t>
                      </a:r>
                    </a:p>
                  </a:txBody>
                  <a:tcPr marL="8492" marR="8492" marT="849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thvi Chauhan</a:t>
                      </a:r>
                    </a:p>
                  </a:txBody>
                  <a:tcPr marL="8492" marR="8492" marT="849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sng" strike="noStrike">
                          <a:solidFill>
                            <a:srgbClr val="0563C1"/>
                          </a:solidFill>
                          <a:effectLst/>
                          <a:latin typeface="Calibri" panose="020F0502020204030204" pitchFamily="34" charset="0"/>
                          <a:hlinkClick r:id="rId31"/>
                        </a:rPr>
                        <a:t>prithvi.chauhan@xecta.com</a:t>
                      </a:r>
                      <a:endParaRPr lang="en-US" sz="10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492" marR="8492" marT="849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5560765"/>
                  </a:ext>
                </a:extLst>
              </a:tr>
              <a:tr h="189003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RILLING</a:t>
                      </a:r>
                    </a:p>
                  </a:txBody>
                  <a:tcPr marL="8492" marR="8492" marT="849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ames Barry</a:t>
                      </a:r>
                    </a:p>
                  </a:txBody>
                  <a:tcPr marL="8492" marR="8492" marT="849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sng" strike="noStrike" dirty="0">
                          <a:solidFill>
                            <a:srgbClr val="0563C1"/>
                          </a:solidFill>
                          <a:effectLst/>
                          <a:latin typeface="Calibri" panose="020F0502020204030204" pitchFamily="34" charset="0"/>
                          <a:hlinkClick r:id="rId32"/>
                        </a:rPr>
                        <a:t>jbarry1970@gmail.com </a:t>
                      </a:r>
                      <a:endParaRPr lang="en-US" sz="1000" b="0" i="0" u="sng" strike="noStrike" dirty="0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492" marR="8492" marT="84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3204362"/>
                  </a:ext>
                </a:extLst>
              </a:tr>
              <a:tr h="189003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NERAL MEETING</a:t>
                      </a:r>
                    </a:p>
                  </a:txBody>
                  <a:tcPr marL="8492" marR="8492" marT="849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berto Saucedo</a:t>
                      </a:r>
                    </a:p>
                  </a:txBody>
                  <a:tcPr marL="8492" marR="8492" marT="849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sng" strike="noStrike">
                          <a:solidFill>
                            <a:srgbClr val="0563C1"/>
                          </a:solidFill>
                          <a:effectLst/>
                          <a:latin typeface="Calibri" panose="020F0502020204030204" pitchFamily="34" charset="0"/>
                          <a:hlinkClick r:id="rId33"/>
                        </a:rPr>
                        <a:t>robertsaucedo@gmail.com </a:t>
                      </a:r>
                      <a:endParaRPr lang="en-US" sz="10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492" marR="8492" marT="84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7540281"/>
                  </a:ext>
                </a:extLst>
              </a:tr>
              <a:tr h="189003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NOVATE</a:t>
                      </a:r>
                    </a:p>
                  </a:txBody>
                  <a:tcPr marL="8492" marR="8492" marT="849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im Stephens</a:t>
                      </a:r>
                    </a:p>
                  </a:txBody>
                  <a:tcPr marL="8492" marR="8492" marT="849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sng" strike="noStrike">
                          <a:solidFill>
                            <a:srgbClr val="0563C1"/>
                          </a:solidFill>
                          <a:effectLst/>
                          <a:latin typeface="Calibri" panose="020F0502020204030204" pitchFamily="34" charset="0"/>
                          <a:hlinkClick r:id="rId34"/>
                        </a:rPr>
                        <a:t>ceramist@att.net </a:t>
                      </a:r>
                      <a:endParaRPr lang="en-US" sz="10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492" marR="8492" marT="84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466206"/>
                  </a:ext>
                </a:extLst>
              </a:tr>
              <a:tr h="189003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RTHSIDE</a:t>
                      </a:r>
                    </a:p>
                  </a:txBody>
                  <a:tcPr marL="8492" marR="8492" marT="849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lli Cramm</a:t>
                      </a:r>
                    </a:p>
                  </a:txBody>
                  <a:tcPr marL="8492" marR="8492" marT="849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sng" strike="noStrike">
                          <a:solidFill>
                            <a:srgbClr val="0563C1"/>
                          </a:solidFill>
                          <a:effectLst/>
                          <a:latin typeface="Calibri" panose="020F0502020204030204" pitchFamily="34" charset="0"/>
                          <a:hlinkClick r:id="rId35"/>
                        </a:rPr>
                        <a:t>hcramm@stokesandspiehler.net </a:t>
                      </a:r>
                      <a:endParaRPr lang="en-US" sz="10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492" marR="8492" marT="84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29916415"/>
                  </a:ext>
                </a:extLst>
              </a:tr>
              <a:tr h="189003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SEARCH &amp; DEVELOPMENT </a:t>
                      </a:r>
                    </a:p>
                  </a:txBody>
                  <a:tcPr marL="8492" marR="8492" marT="849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mit Patil</a:t>
                      </a:r>
                    </a:p>
                  </a:txBody>
                  <a:tcPr marL="8492" marR="8492" marT="849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sng" strike="noStrike">
                          <a:solidFill>
                            <a:srgbClr val="0563C1"/>
                          </a:solidFill>
                          <a:effectLst/>
                          <a:latin typeface="Calibri" panose="020F0502020204030204" pitchFamily="34" charset="0"/>
                          <a:hlinkClick r:id="rId36"/>
                        </a:rPr>
                        <a:t>APatil14@onesubsea.slb.com </a:t>
                      </a:r>
                      <a:endParaRPr lang="en-US" sz="10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492" marR="8492" marT="84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79952664"/>
                  </a:ext>
                </a:extLst>
              </a:tr>
              <a:tr h="189003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SERVOIR</a:t>
                      </a:r>
                    </a:p>
                  </a:txBody>
                  <a:tcPr marL="8492" marR="8492" marT="849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eve Schubarth</a:t>
                      </a:r>
                    </a:p>
                  </a:txBody>
                  <a:tcPr marL="8492" marR="8492" marT="849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sng" strike="noStrike">
                          <a:solidFill>
                            <a:srgbClr val="0563C1"/>
                          </a:solidFill>
                          <a:effectLst/>
                          <a:latin typeface="Calibri" panose="020F0502020204030204" pitchFamily="34" charset="0"/>
                          <a:hlinkClick r:id="rId37"/>
                        </a:rPr>
                        <a:t>steve@schubarthinc.com </a:t>
                      </a:r>
                      <a:endParaRPr lang="en-US" sz="10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492" marR="8492" marT="84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8477580"/>
                  </a:ext>
                </a:extLst>
              </a:tr>
              <a:tr h="189003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STSIDE</a:t>
                      </a:r>
                    </a:p>
                  </a:txBody>
                  <a:tcPr marL="8492" marR="8492" marT="849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rby Witt</a:t>
                      </a:r>
                    </a:p>
                  </a:txBody>
                  <a:tcPr marL="8492" marR="8492" marT="849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sng" strike="noStrike" dirty="0">
                          <a:solidFill>
                            <a:srgbClr val="0563C1"/>
                          </a:solidFill>
                          <a:effectLst/>
                          <a:latin typeface="Calibri" panose="020F0502020204030204" pitchFamily="34" charset="0"/>
                          <a:hlinkClick r:id="rId38"/>
                        </a:rPr>
                        <a:t>darbykwitt@gmail.com </a:t>
                      </a:r>
                      <a:endParaRPr lang="en-US" sz="1000" b="0" i="0" u="sng" strike="noStrike" dirty="0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492" marR="8492" marT="849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52461660"/>
                  </a:ext>
                </a:extLst>
              </a:tr>
            </a:tbl>
          </a:graphicData>
        </a:graphic>
      </p:graphicFrame>
      <p:graphicFrame>
        <p:nvGraphicFramePr>
          <p:cNvPr id="30" name="Table 29">
            <a:extLst>
              <a:ext uri="{FF2B5EF4-FFF2-40B4-BE49-F238E27FC236}">
                <a16:creationId xmlns:a16="http://schemas.microsoft.com/office/drawing/2014/main" id="{0F231504-F386-1368-B340-0EB013B62C7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66763237"/>
              </p:ext>
            </p:extLst>
          </p:nvPr>
        </p:nvGraphicFramePr>
        <p:xfrm>
          <a:off x="106347" y="4667246"/>
          <a:ext cx="5427505" cy="1143000"/>
        </p:xfrm>
        <a:graphic>
          <a:graphicData uri="http://schemas.openxmlformats.org/drawingml/2006/table">
            <a:tbl>
              <a:tblPr/>
              <a:tblGrid>
                <a:gridCol w="484203">
                  <a:extLst>
                    <a:ext uri="{9D8B030D-6E8A-4147-A177-3AD203B41FA5}">
                      <a16:colId xmlns:a16="http://schemas.microsoft.com/office/drawing/2014/main" val="478215204"/>
                    </a:ext>
                  </a:extLst>
                </a:gridCol>
                <a:gridCol w="1371469">
                  <a:extLst>
                    <a:ext uri="{9D8B030D-6E8A-4147-A177-3AD203B41FA5}">
                      <a16:colId xmlns:a16="http://schemas.microsoft.com/office/drawing/2014/main" val="619217915"/>
                    </a:ext>
                  </a:extLst>
                </a:gridCol>
                <a:gridCol w="1505941">
                  <a:extLst>
                    <a:ext uri="{9D8B030D-6E8A-4147-A177-3AD203B41FA5}">
                      <a16:colId xmlns:a16="http://schemas.microsoft.com/office/drawing/2014/main" val="1382909027"/>
                    </a:ext>
                  </a:extLst>
                </a:gridCol>
                <a:gridCol w="2065892">
                  <a:extLst>
                    <a:ext uri="{9D8B030D-6E8A-4147-A177-3AD203B41FA5}">
                      <a16:colId xmlns:a16="http://schemas.microsoft.com/office/drawing/2014/main" val="4202269854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sition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4-2025 BO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mail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87535482"/>
                  </a:ext>
                </a:extLst>
              </a:tr>
              <a:tr h="190500"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en-US" sz="1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F</a:t>
                      </a:r>
                    </a:p>
                  </a:txBody>
                  <a:tcPr marL="9525" marR="9525" marT="9525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F Committe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exsandra Martinez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sng" strike="noStrike">
                          <a:solidFill>
                            <a:srgbClr val="0563C1"/>
                          </a:solidFill>
                          <a:effectLst/>
                          <a:latin typeface="Calibri" panose="020F0502020204030204" pitchFamily="34" charset="0"/>
                          <a:hlinkClick r:id="rId7"/>
                        </a:rPr>
                        <a:t>amartinez@demac.com </a:t>
                      </a:r>
                      <a:endParaRPr lang="en-US" sz="11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13248674"/>
                  </a:ext>
                </a:extLst>
              </a:tr>
              <a:tr h="19050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F Committe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e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7123921"/>
                  </a:ext>
                </a:extLst>
              </a:tr>
              <a:tr h="19050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F Committe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eannie Chung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563C1"/>
                          </a:solidFill>
                          <a:effectLst/>
                          <a:latin typeface="Calibri" panose="020F0502020204030204" pitchFamily="34" charset="0"/>
                          <a:hlinkClick r:id="rId27"/>
                        </a:rPr>
                        <a:t>jchung1727@gmail.com </a:t>
                      </a:r>
                      <a:endParaRPr lang="en-US" sz="11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24889897"/>
                  </a:ext>
                </a:extLst>
              </a:tr>
              <a:tr h="19050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F Committe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bhi Kohli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sng" strike="noStrike">
                          <a:solidFill>
                            <a:srgbClr val="0563C1"/>
                          </a:solidFill>
                          <a:effectLst/>
                          <a:latin typeface="Calibri" panose="020F0502020204030204" pitchFamily="34" charset="0"/>
                          <a:hlinkClick r:id="rId5"/>
                        </a:rPr>
                        <a:t>Abhinandan.Kohli@shell.com</a:t>
                      </a:r>
                      <a:endParaRPr lang="en-US" sz="11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8550332"/>
                  </a:ext>
                </a:extLst>
              </a:tr>
              <a:tr h="19050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F Advisor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ichard Murphy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sng" strike="noStrike" dirty="0">
                          <a:solidFill>
                            <a:srgbClr val="0563C1"/>
                          </a:solidFill>
                          <a:effectLst/>
                          <a:latin typeface="Calibri" panose="020F0502020204030204" pitchFamily="34" charset="0"/>
                          <a:hlinkClick r:id="rId39"/>
                        </a:rPr>
                        <a:t>stancal@windstream.net</a:t>
                      </a:r>
                      <a:endParaRPr lang="en-US" sz="1100" b="0" i="0" u="sng" strike="noStrike" dirty="0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617978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3785502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4D6F657-B6A0-EB30-4FDB-2F322AA9AD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84764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4D6F657-B6A0-EB30-4FDB-2F322AA9AD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F533EDE-A1C1-4CA0-98E8-BD1642B2BF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67492" y="381001"/>
            <a:ext cx="9779183" cy="954740"/>
          </a:xfrm>
        </p:spPr>
        <p:txBody>
          <a:bodyPr vert="horz" anchor="ctr"/>
          <a:lstStyle/>
          <a:p>
            <a:pPr algn="ctr"/>
            <a:r>
              <a:rPr lang="en-US" dirty="0"/>
              <a:t>Congratulations!!!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5F0983-2B72-4A59-A3EB-EB3C3A8DB8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F16C23-A6FD-41B5-AD19-7147D3B38D91}" type="datetime1">
              <a:rPr lang="en-US" smtClean="0"/>
              <a:t>8/30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D24E18-981C-4F6A-9450-28FABFB95B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PE-GCS KICK-OFF MEETING 2024-2025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7BF2FB-1787-425A-B847-DA73010F41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13</a:t>
            </a:fld>
            <a:endParaRPr lang="en-US" dirty="0"/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58D7539F-1B55-4419-A998-ACD4201A1E3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646" y="2874714"/>
            <a:ext cx="3767830" cy="3023864"/>
          </a:xfrm>
          <a:prstGeom prst="rect">
            <a:avLst/>
          </a:prstGeom>
        </p:spPr>
      </p:pic>
      <p:pic>
        <p:nvPicPr>
          <p:cNvPr id="8" name="Picture 7" descr="A blue and yellow label with white text&#10;&#10;Description automatically generated">
            <a:extLst>
              <a:ext uri="{FF2B5EF4-FFF2-40B4-BE49-F238E27FC236}">
                <a16:creationId xmlns:a16="http://schemas.microsoft.com/office/drawing/2014/main" id="{E95F8A46-F1E7-4AB6-95F9-0A0D02D2AB1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90660" y="2874714"/>
            <a:ext cx="3767830" cy="3023864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C6B9555D-9681-7B7F-42F0-68432C82DF29}"/>
              </a:ext>
            </a:extLst>
          </p:cNvPr>
          <p:cNvGrpSpPr/>
          <p:nvPr/>
        </p:nvGrpSpPr>
        <p:grpSpPr>
          <a:xfrm>
            <a:off x="8525521" y="2874714"/>
            <a:ext cx="3604335" cy="3023864"/>
            <a:chOff x="8525521" y="2874714"/>
            <a:chExt cx="3604335" cy="3023864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C6CB522D-1E10-85F1-F624-DBB323D3E92A}"/>
                </a:ext>
              </a:extLst>
            </p:cNvPr>
            <p:cNvSpPr/>
            <p:nvPr/>
          </p:nvSpPr>
          <p:spPr>
            <a:xfrm>
              <a:off x="8525521" y="2874714"/>
              <a:ext cx="3604335" cy="302386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C7CFE189-2EFA-41A6-2B28-05EAEA84549E}"/>
                </a:ext>
              </a:extLst>
            </p:cNvPr>
            <p:cNvSpPr/>
            <p:nvPr/>
          </p:nvSpPr>
          <p:spPr>
            <a:xfrm>
              <a:off x="8726750" y="4509856"/>
              <a:ext cx="3281604" cy="764108"/>
            </a:xfrm>
            <a:prstGeom prst="rect">
              <a:avLst/>
            </a:prstGeom>
            <a:solidFill>
              <a:srgbClr val="FFC000"/>
            </a:solidFill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2800" b="1" dirty="0">
                  <a:solidFill>
                    <a:schemeClr val="accent1"/>
                  </a:solidFill>
                </a:rPr>
                <a:t>OUTSTANDING </a:t>
              </a:r>
            </a:p>
            <a:p>
              <a:pPr algn="ctr"/>
              <a:r>
                <a:rPr lang="en-GB" sz="2800" b="1" dirty="0">
                  <a:solidFill>
                    <a:schemeClr val="accent1"/>
                  </a:solidFill>
                </a:rPr>
                <a:t>SECTION - 2025</a:t>
              </a:r>
              <a:endParaRPr lang="en-GB" b="1" dirty="0">
                <a:solidFill>
                  <a:schemeClr val="accent1"/>
                </a:solidFill>
              </a:endParaRPr>
            </a:p>
          </p:txBody>
        </p:sp>
        <p:sp>
          <p:nvSpPr>
            <p:cNvPr id="13" name="Block Arc 12">
              <a:extLst>
                <a:ext uri="{FF2B5EF4-FFF2-40B4-BE49-F238E27FC236}">
                  <a16:creationId xmlns:a16="http://schemas.microsoft.com/office/drawing/2014/main" id="{4514B5C0-6685-D59A-7878-5205BF5E90B6}"/>
                </a:ext>
              </a:extLst>
            </p:cNvPr>
            <p:cNvSpPr/>
            <p:nvPr/>
          </p:nvSpPr>
          <p:spPr>
            <a:xfrm>
              <a:off x="8954521" y="3051110"/>
              <a:ext cx="2856479" cy="2847468"/>
            </a:xfrm>
            <a:prstGeom prst="blockArc">
              <a:avLst>
                <a:gd name="adj1" fmla="val 10800000"/>
                <a:gd name="adj2" fmla="val 2"/>
                <a:gd name="adj3" fmla="val 20387"/>
              </a:avLst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prstTxWarp prst="textDoubleWave1">
                <a:avLst/>
              </a:prstTxWarp>
            </a:bodyPr>
            <a:lstStyle/>
            <a:p>
              <a:pPr algn="ctr"/>
              <a:r>
                <a:rPr lang="en-GB" sz="2400" b="1" dirty="0">
                  <a:solidFill>
                    <a:srgbClr val="FF0000"/>
                  </a:solidFill>
                  <a:latin typeface="+mj-lt"/>
                </a:rPr>
                <a:t>MANIFESTIN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529607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790AF8D5-F2AF-E397-CC8F-A553BC3EE61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2689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0AF8D5-F2AF-E397-CC8F-A553BC3EE6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460295B-54B9-4937-90E3-BAB9CE69E30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67494" y="1059400"/>
            <a:ext cx="6245912" cy="2387600"/>
          </a:xfrm>
        </p:spPr>
        <p:txBody>
          <a:bodyPr vert="horz"/>
          <a:lstStyle/>
          <a:p>
            <a:r>
              <a:rPr lang="en-US" dirty="0"/>
              <a:t>SPE-GCS Goals : BoD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51A6D85-3837-435F-A342-5A3F98172B1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67494" y="3539075"/>
            <a:ext cx="6245912" cy="1406101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2024-202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679733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C298B847-C42B-2F46-EE88-C61FCFFDDA5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98862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8B847-C42B-2F46-EE88-C61FCFFDDA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6CEF3A0-AC1B-43D7-BA36-AF12DC27AF7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50573" y="2003837"/>
            <a:ext cx="3261527" cy="3679787"/>
          </a:xfrm>
        </p:spPr>
        <p:txBody>
          <a:bodyPr/>
          <a:lstStyle/>
          <a:p>
            <a:pPr marL="233363" indent="-233363">
              <a:spcBef>
                <a:spcPts val="100"/>
              </a:spcBef>
              <a:buFont typeface="Arial" panose="020B0604020202020204" pitchFamily="34" charset="0"/>
              <a:buChar char="•"/>
            </a:pPr>
            <a:r>
              <a:rPr lang="en-US" sz="1600" b="1" dirty="0"/>
              <a:t>Strong Focus on membership </a:t>
            </a:r>
          </a:p>
          <a:p>
            <a:pPr marL="690563" lvl="2" indent="-233363">
              <a:spcBef>
                <a:spcPts val="100"/>
              </a:spcBef>
              <a:buFont typeface="Arial" panose="020B0604020202020204" pitchFamily="34" charset="0"/>
              <a:buChar char="•"/>
            </a:pPr>
            <a:r>
              <a:rPr lang="en-US" sz="1600" dirty="0"/>
              <a:t>Young Professionals</a:t>
            </a:r>
          </a:p>
          <a:p>
            <a:pPr marL="690563" lvl="2" indent="-233363">
              <a:spcBef>
                <a:spcPts val="100"/>
              </a:spcBef>
              <a:buFont typeface="Arial" panose="020B0604020202020204" pitchFamily="34" charset="0"/>
              <a:buChar char="•"/>
            </a:pPr>
            <a:r>
              <a:rPr lang="en-US" sz="1600" dirty="0"/>
              <a:t>High schools and college</a:t>
            </a:r>
          </a:p>
          <a:p>
            <a:pPr marL="233363" indent="-233363">
              <a:spcBef>
                <a:spcPts val="100"/>
              </a:spcBef>
              <a:buFont typeface="Arial" panose="020B0604020202020204" pitchFamily="34" charset="0"/>
              <a:buChar char="•"/>
            </a:pPr>
            <a:r>
              <a:rPr lang="en-US" sz="1600" dirty="0"/>
              <a:t>Membership appreciation events</a:t>
            </a:r>
          </a:p>
          <a:p>
            <a:pPr marL="233363" indent="-233363">
              <a:spcBef>
                <a:spcPts val="100"/>
              </a:spcBef>
              <a:buFont typeface="Arial" panose="020B0604020202020204" pitchFamily="34" charset="0"/>
              <a:buChar char="•"/>
            </a:pPr>
            <a:r>
              <a:rPr lang="en-US" sz="1600" dirty="0"/>
              <a:t>Engagement with BoD and Chairs</a:t>
            </a:r>
          </a:p>
          <a:p>
            <a:pPr marL="233363" indent="-233363">
              <a:spcBef>
                <a:spcPts val="100"/>
              </a:spcBef>
              <a:buFont typeface="Arial" panose="020B0604020202020204" pitchFamily="34" charset="0"/>
              <a:buChar char="•"/>
            </a:pPr>
            <a:r>
              <a:rPr lang="en-US" sz="1600" dirty="0"/>
              <a:t>BoD presence at different events</a:t>
            </a:r>
          </a:p>
          <a:p>
            <a:pPr marL="233363" indent="-233363">
              <a:spcBef>
                <a:spcPts val="100"/>
              </a:spcBef>
              <a:buFont typeface="Arial" panose="020B0604020202020204" pitchFamily="34" charset="0"/>
              <a:buChar char="•"/>
            </a:pPr>
            <a:r>
              <a:rPr lang="en-US" sz="1600" b="1" dirty="0"/>
              <a:t>Quarterly Chair’s corner </a:t>
            </a:r>
          </a:p>
          <a:p>
            <a:pPr marL="233363" indent="-233363">
              <a:spcBef>
                <a:spcPts val="100"/>
              </a:spcBef>
              <a:buFont typeface="Arial" panose="020B0604020202020204" pitchFamily="34" charset="0"/>
              <a:buChar char="•"/>
            </a:pPr>
            <a:r>
              <a:rPr lang="en-US" sz="1600" dirty="0"/>
              <a:t>Mid Year Review of Goals</a:t>
            </a:r>
          </a:p>
          <a:p>
            <a:pPr marL="233363" indent="-233363">
              <a:spcBef>
                <a:spcPts val="100"/>
              </a:spcBef>
              <a:buFont typeface="Arial" panose="020B0604020202020204" pitchFamily="34" charset="0"/>
              <a:buChar char="•"/>
            </a:pPr>
            <a:r>
              <a:rPr lang="en-US" sz="1600" b="1" dirty="0"/>
              <a:t>Board meeting attendance</a:t>
            </a:r>
          </a:p>
          <a:p>
            <a:pPr marL="233363" indent="-233363">
              <a:spcBef>
                <a:spcPts val="100"/>
              </a:spcBef>
              <a:buFont typeface="Arial" panose="020B0604020202020204" pitchFamily="34" charset="0"/>
              <a:buChar char="•"/>
            </a:pPr>
            <a:r>
              <a:rPr lang="en-US" sz="1600" b="1" dirty="0"/>
              <a:t>Promote the SEF</a:t>
            </a:r>
            <a:endParaRPr lang="en-US" sz="1600" dirty="0"/>
          </a:p>
          <a:p>
            <a:pPr marL="233363" indent="-233363">
              <a:spcBef>
                <a:spcPts val="100"/>
              </a:spcBef>
              <a:buFont typeface="Arial" panose="020B0604020202020204" pitchFamily="34" charset="0"/>
              <a:buChar char="•"/>
            </a:pPr>
            <a:r>
              <a:rPr lang="en-US" sz="1600" dirty="0"/>
              <a:t>New award categories for top-performing group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E45D47-D700-4E86-A624-4C213C244BA8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82D3702E-236C-4115-97CA-5EC6B2F156C4}" type="datetime1">
              <a:rPr lang="en-US" smtClean="0"/>
              <a:t>8/30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4F4EDF6-E89A-4840-951E-333610902C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PE-GCS KICK-OFF MEETING 2024-2025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B002AEB-FCC1-4F1C-88C1-9998152CB20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32C0BEC-EC48-413F-A4EF-492452612218}"/>
              </a:ext>
            </a:extLst>
          </p:cNvPr>
          <p:cNvSpPr txBox="1"/>
          <p:nvPr/>
        </p:nvSpPr>
        <p:spPr>
          <a:xfrm>
            <a:off x="146523" y="1362193"/>
            <a:ext cx="461665" cy="240999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vert="vert270" wrap="square" rtlCol="0">
            <a:spAutoFit/>
          </a:bodyPr>
          <a:lstStyle/>
          <a:p>
            <a:pPr algn="ctr"/>
            <a:r>
              <a:rPr lang="en-US" b="1" dirty="0"/>
              <a:t>Chair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DA23AC1-2D08-411A-903A-49942FCEAAF0}"/>
              </a:ext>
            </a:extLst>
          </p:cNvPr>
          <p:cNvSpPr txBox="1"/>
          <p:nvPr/>
        </p:nvSpPr>
        <p:spPr>
          <a:xfrm>
            <a:off x="8099365" y="1362193"/>
            <a:ext cx="461665" cy="240999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vert="vert270" wrap="square" rtlCol="0">
            <a:spAutoFit/>
          </a:bodyPr>
          <a:lstStyle/>
          <a:p>
            <a:pPr algn="ctr"/>
            <a:r>
              <a:rPr lang="en-US" b="1" dirty="0"/>
              <a:t>Secretary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9C4B02BE-1D7B-4B14-B249-773A6BBB3E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710" y="102485"/>
            <a:ext cx="9779183" cy="664399"/>
          </a:xfrm>
        </p:spPr>
        <p:txBody>
          <a:bodyPr vert="horz" anchor="t"/>
          <a:lstStyle/>
          <a:p>
            <a:r>
              <a:rPr lang="en-US" sz="4400" dirty="0"/>
              <a:t>Gulf Coast Section 2024-2025 Goal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982DC3B-A195-4F27-D097-4245D30B8C60}"/>
              </a:ext>
            </a:extLst>
          </p:cNvPr>
          <p:cNvSpPr txBox="1"/>
          <p:nvPr/>
        </p:nvSpPr>
        <p:spPr>
          <a:xfrm>
            <a:off x="1671104" y="1011722"/>
            <a:ext cx="1645172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b="1" dirty="0">
                <a:latin typeface="Calibri" panose="020F0502020204030204" pitchFamily="34" charset="0"/>
              </a:rPr>
              <a:t>Abhi Kohli</a:t>
            </a:r>
          </a:p>
          <a:p>
            <a:pPr algn="ctr"/>
            <a:r>
              <a:rPr lang="en-US" sz="1600" b="1" dirty="0">
                <a:latin typeface="Calibri" panose="020F0502020204030204" pitchFamily="34" charset="0"/>
              </a:rPr>
              <a:t>Section Chair</a:t>
            </a:r>
          </a:p>
          <a:p>
            <a:pPr algn="ctr"/>
            <a:r>
              <a:rPr lang="en-US" sz="1200" dirty="0">
                <a:latin typeface="Calibri" panose="020F0502020204030204" pitchFamily="34" charset="0"/>
              </a:rPr>
              <a:t>Shell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321ACF75-8FC3-B806-26F6-E991FFB9675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62749" y="1011722"/>
            <a:ext cx="844281" cy="769441"/>
          </a:xfrm>
          <a:prstGeom prst="ellipse">
            <a:avLst/>
          </a:prstGeom>
          <a:ln w="63500" cap="rnd">
            <a:noFill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19" name="Subtitle 2">
            <a:extLst>
              <a:ext uri="{FF2B5EF4-FFF2-40B4-BE49-F238E27FC236}">
                <a16:creationId xmlns:a16="http://schemas.microsoft.com/office/drawing/2014/main" id="{0737150B-00D7-8FFC-09B3-2834D620190D}"/>
              </a:ext>
            </a:extLst>
          </p:cNvPr>
          <p:cNvSpPr txBox="1">
            <a:spLocks/>
          </p:cNvSpPr>
          <p:nvPr/>
        </p:nvSpPr>
        <p:spPr>
          <a:xfrm>
            <a:off x="9754432" y="996240"/>
            <a:ext cx="1759342" cy="73190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None/>
            </a:pPr>
            <a:r>
              <a:rPr lang="en-US" sz="1600" b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ebora Martogi</a:t>
            </a:r>
          </a:p>
          <a:p>
            <a:pPr marL="0" indent="0" algn="ctr">
              <a:spcBef>
                <a:spcPts val="0"/>
              </a:spcBef>
              <a:buNone/>
            </a:pPr>
            <a:r>
              <a:rPr lang="en-US" sz="1600" b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Secretary</a:t>
            </a:r>
          </a:p>
          <a:p>
            <a:pPr marL="0" indent="0" algn="ctr">
              <a:spcBef>
                <a:spcPts val="0"/>
              </a:spcBef>
              <a:buNone/>
            </a:pPr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</a:rPr>
              <a:t>Geosyntec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AE6AD0D5-9B25-340F-EB1C-84725C74213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938142" y="922273"/>
            <a:ext cx="822960" cy="82296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D2D8433E-6508-ED2C-F8D1-6134275DE56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99712" y="1019008"/>
            <a:ext cx="731520" cy="731520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85658B6D-991A-8ED3-E998-1B9BD8BF56EA}"/>
              </a:ext>
            </a:extLst>
          </p:cNvPr>
          <p:cNvSpPr txBox="1"/>
          <p:nvPr/>
        </p:nvSpPr>
        <p:spPr>
          <a:xfrm>
            <a:off x="4154485" y="1342324"/>
            <a:ext cx="461665" cy="240999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vert="vert270" wrap="square" rtlCol="0">
            <a:spAutoFit/>
          </a:bodyPr>
          <a:lstStyle/>
          <a:p>
            <a:pPr algn="ctr"/>
            <a:r>
              <a:rPr lang="en-US" b="1" dirty="0"/>
              <a:t>Vice-Chair</a:t>
            </a:r>
          </a:p>
        </p:txBody>
      </p:sp>
      <p:sp>
        <p:nvSpPr>
          <p:cNvPr id="27" name="Subtitle 2">
            <a:extLst>
              <a:ext uri="{FF2B5EF4-FFF2-40B4-BE49-F238E27FC236}">
                <a16:creationId xmlns:a16="http://schemas.microsoft.com/office/drawing/2014/main" id="{D6106114-B8B7-71BA-8737-F21E1681CAB0}"/>
              </a:ext>
            </a:extLst>
          </p:cNvPr>
          <p:cNvSpPr txBox="1">
            <a:spLocks/>
          </p:cNvSpPr>
          <p:nvPr/>
        </p:nvSpPr>
        <p:spPr>
          <a:xfrm>
            <a:off x="5264093" y="1000420"/>
            <a:ext cx="1974592" cy="73190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None/>
            </a:pPr>
            <a:r>
              <a:rPr lang="en-US" sz="1600" b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Bharath Rajappa </a:t>
            </a:r>
          </a:p>
          <a:p>
            <a:pPr marL="0" indent="0" algn="ctr">
              <a:spcBef>
                <a:spcPts val="0"/>
              </a:spcBef>
              <a:buNone/>
            </a:pPr>
            <a:r>
              <a:rPr lang="en-US" sz="1600" b="1" dirty="0">
                <a:latin typeface="Calibri" panose="020F0502020204030204" pitchFamily="34" charset="0"/>
                <a:ea typeface="Calibri" panose="020F0502020204030204" pitchFamily="34" charset="0"/>
              </a:rPr>
              <a:t>Vice Chair</a:t>
            </a:r>
            <a:endParaRPr lang="en-US" sz="1600" b="1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indent="0" algn="ctr">
              <a:spcBef>
                <a:spcPts val="0"/>
              </a:spcBef>
              <a:buNone/>
            </a:pPr>
            <a:r>
              <a:rPr lang="en-US" sz="1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ConocoPhillip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5050E406-5424-EEFA-0659-6C90EF107A44}"/>
              </a:ext>
            </a:extLst>
          </p:cNvPr>
          <p:cNvSpPr txBox="1"/>
          <p:nvPr/>
        </p:nvSpPr>
        <p:spPr>
          <a:xfrm>
            <a:off x="8624112" y="1974589"/>
            <a:ext cx="3480919" cy="21380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33363" marR="0" lvl="0" indent="-233363">
              <a:lnSpc>
                <a:spcPct val="90000"/>
              </a:lnSpc>
              <a:spcBef>
                <a:spcPts val="1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BoD meeting agenda</a:t>
            </a:r>
          </a:p>
          <a:p>
            <a:pPr marL="233363" marR="0" lvl="0" indent="-233363">
              <a:lnSpc>
                <a:spcPct val="90000"/>
              </a:lnSpc>
              <a:spcBef>
                <a:spcPts val="1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Schedule/Arrange with SG/Committee/Event to present in Monthly BoD</a:t>
            </a:r>
          </a:p>
          <a:p>
            <a:pPr marL="233363" marR="0" lvl="0" indent="-233363">
              <a:lnSpc>
                <a:spcPct val="90000"/>
              </a:lnSpc>
              <a:spcBef>
                <a:spcPts val="1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Monitoring event registrations </a:t>
            </a:r>
          </a:p>
          <a:p>
            <a:pPr marL="233363" marR="0" lvl="0" indent="-233363">
              <a:lnSpc>
                <a:spcPct val="90000"/>
              </a:lnSpc>
              <a:spcBef>
                <a:spcPts val="1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Post-event look back and compilation</a:t>
            </a:r>
          </a:p>
          <a:p>
            <a:pPr marL="233363" marR="0" lvl="0" indent="-233363">
              <a:lnSpc>
                <a:spcPct val="90000"/>
              </a:lnSpc>
              <a:spcBef>
                <a:spcPts val="1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Complete SPE-GCS Roster for submission</a:t>
            </a:r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E9E6C224-4506-BBE7-8DDA-987189063675}"/>
              </a:ext>
            </a:extLst>
          </p:cNvPr>
          <p:cNvSpPr txBox="1">
            <a:spLocks/>
          </p:cNvSpPr>
          <p:nvPr/>
        </p:nvSpPr>
        <p:spPr>
          <a:xfrm>
            <a:off x="4664365" y="2042396"/>
            <a:ext cx="3261527" cy="414042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3363" indent="-233363">
              <a:spcBef>
                <a:spcPts val="100"/>
              </a:spcBef>
              <a:buFont typeface="Arial" panose="020B0604020202020204" pitchFamily="34" charset="0"/>
              <a:buChar char="•"/>
            </a:pPr>
            <a:r>
              <a:rPr lang="en-US" sz="1600" b="1" dirty="0"/>
              <a:t>Chair role for Awards banquet </a:t>
            </a:r>
            <a:r>
              <a:rPr lang="en-US" sz="1600" dirty="0"/>
              <a:t>delivering another successful event in 2025 </a:t>
            </a:r>
          </a:p>
          <a:p>
            <a:pPr marL="233363" indent="-233363">
              <a:spcBef>
                <a:spcPts val="100"/>
              </a:spcBef>
              <a:buFont typeface="Arial" panose="020B0604020202020204" pitchFamily="34" charset="0"/>
              <a:buChar char="•"/>
            </a:pPr>
            <a:r>
              <a:rPr lang="en-US" sz="1600" dirty="0"/>
              <a:t>Support section chair in day-to-day activities and functioning of the board. </a:t>
            </a:r>
          </a:p>
          <a:p>
            <a:pPr marL="233363" indent="-233363">
              <a:spcBef>
                <a:spcPts val="100"/>
              </a:spcBef>
              <a:buFont typeface="Arial" panose="020B0604020202020204" pitchFamily="34" charset="0"/>
              <a:buChar char="•"/>
            </a:pPr>
            <a:r>
              <a:rPr lang="en-US" sz="1600" dirty="0"/>
              <a:t>Support SEF and membership committee to recruit new members. </a:t>
            </a:r>
          </a:p>
        </p:txBody>
      </p:sp>
    </p:spTree>
    <p:extLst>
      <p:ext uri="{BB962C8B-B14F-4D97-AF65-F5344CB8AC3E}">
        <p14:creationId xmlns:p14="http://schemas.microsoft.com/office/powerpoint/2010/main" val="369332179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C298B847-C42B-2F46-EE88-C61FCFFDDA5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8B847-C42B-2F46-EE88-C61FCFFDDA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E45D47-D700-4E86-A624-4C213C244BA8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C0D8081A-1B92-49D6-B361-453C3B8F02E1}" type="datetime1">
              <a:rPr lang="en-US" smtClean="0"/>
              <a:t>8/30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4F4EDF6-E89A-4840-951E-333610902C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PE-GCS KICK-OFF MEETING 2024-2025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B002AEB-FCC1-4F1C-88C1-9998152CB20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EA1D1F76-7996-4854-889C-56E7C14C5831}"/>
              </a:ext>
            </a:extLst>
          </p:cNvPr>
          <p:cNvSpPr txBox="1">
            <a:spLocks/>
          </p:cNvSpPr>
          <p:nvPr/>
        </p:nvSpPr>
        <p:spPr>
          <a:xfrm>
            <a:off x="1220643" y="1833812"/>
            <a:ext cx="4991040" cy="317652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b="1" dirty="0">
                <a:effectLst/>
                <a:ea typeface="Calibri" panose="020F0502020204030204" pitchFamily="34" charset="0"/>
              </a:rPr>
              <a:t>Maintain Financial Reporting:</a:t>
            </a:r>
            <a:r>
              <a:rPr lang="en-US" sz="1400" b="1" dirty="0">
                <a:ea typeface="Calibri" panose="020F0502020204030204" pitchFamily="34" charset="0"/>
              </a:rPr>
              <a:t> </a:t>
            </a:r>
            <a:r>
              <a:rPr lang="en-US" sz="1400" dirty="0">
                <a:effectLst/>
                <a:ea typeface="Calibri" panose="020F0502020204030204" pitchFamily="34" charset="0"/>
              </a:rPr>
              <a:t>Continue to provide clear, accurate, and timely financial reports to support informed decision-making.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400" b="1" dirty="0">
              <a:ea typeface="Calibri" panose="020F0502020204030204" pitchFamily="34" charset="0"/>
            </a:endParaRP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b="1" dirty="0">
                <a:effectLst/>
                <a:ea typeface="Calibri" panose="020F0502020204030204" pitchFamily="34" charset="0"/>
              </a:rPr>
              <a:t>Optimize Investment Management: </a:t>
            </a:r>
            <a:r>
              <a:rPr lang="en-US" sz="1400" dirty="0">
                <a:effectLst/>
                <a:ea typeface="Calibri" panose="020F0502020204030204" pitchFamily="34" charset="0"/>
              </a:rPr>
              <a:t>Regularly review and manage the investment portfolio to balance risk and maximize returns. 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400" b="1" dirty="0">
              <a:ea typeface="Calibri" panose="020F0502020204030204" pitchFamily="34" charset="0"/>
            </a:endParaRP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b="1" dirty="0">
                <a:effectLst/>
                <a:ea typeface="Calibri" panose="020F0502020204030204" pitchFamily="34" charset="0"/>
              </a:rPr>
              <a:t>Ensure Compliance and Timely Payments: </a:t>
            </a:r>
            <a:r>
              <a:rPr lang="en-US" sz="1400" dirty="0">
                <a:effectLst/>
                <a:ea typeface="Calibri" panose="020F0502020204030204" pitchFamily="34" charset="0"/>
              </a:rPr>
              <a:t>Adhere to financial guidelines for all expenses and ensure timely payment processing to support smooth operations.</a:t>
            </a:r>
            <a:endParaRPr lang="en-US" sz="1400" dirty="0">
              <a:ea typeface="Calibri" panose="020F0502020204030204" pitchFamily="34" charset="0"/>
            </a:endParaRP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400" dirty="0">
              <a:effectLst/>
              <a:ea typeface="Calibri" panose="020F0502020204030204" pitchFamily="34" charset="0"/>
            </a:endParaRP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b="1" dirty="0">
                <a:ea typeface="Calibri" panose="020F0502020204030204" pitchFamily="34" charset="0"/>
              </a:rPr>
              <a:t>Financial forecasting</a:t>
            </a:r>
            <a:r>
              <a:rPr lang="en-US" sz="1800" b="1" dirty="0">
                <a:ea typeface="Calibri" panose="020F0502020204030204" pitchFamily="34" charset="0"/>
              </a:rPr>
              <a:t>:</a:t>
            </a:r>
            <a:r>
              <a:rPr lang="en-US" sz="1400" dirty="0">
                <a:ea typeface="Calibri" panose="020F0502020204030204" pitchFamily="34" charset="0"/>
              </a:rPr>
              <a:t> Comparison of beginning budgets vs actuals?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4551AFCA-E4F2-406D-8796-0A37A1BAC582}"/>
              </a:ext>
            </a:extLst>
          </p:cNvPr>
          <p:cNvSpPr txBox="1">
            <a:spLocks/>
          </p:cNvSpPr>
          <p:nvPr/>
        </p:nvSpPr>
        <p:spPr>
          <a:xfrm>
            <a:off x="1794758" y="980970"/>
            <a:ext cx="1446908" cy="73190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None/>
            </a:pPr>
            <a:r>
              <a:rPr lang="en-US" sz="1600" b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erek Key</a:t>
            </a:r>
          </a:p>
          <a:p>
            <a:pPr marL="0" indent="0" algn="ctr">
              <a:spcBef>
                <a:spcPts val="0"/>
              </a:spcBef>
              <a:buNone/>
            </a:pPr>
            <a:r>
              <a:rPr lang="en-US" sz="1600" b="1" dirty="0">
                <a:latin typeface="Calibri" panose="020F0502020204030204" pitchFamily="34" charset="0"/>
                <a:ea typeface="Calibri" panose="020F0502020204030204" pitchFamily="34" charset="0"/>
              </a:rPr>
              <a:t>Treasury Chair</a:t>
            </a:r>
            <a:endParaRPr lang="en-US" sz="1600" b="1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indent="0" algn="ctr">
              <a:spcBef>
                <a:spcPts val="0"/>
              </a:spcBef>
              <a:buNone/>
            </a:pPr>
            <a:r>
              <a:rPr lang="en-US" sz="1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CoreLab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9C4B02BE-1D7B-4B14-B249-773A6BBB3E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710" y="102485"/>
            <a:ext cx="9779183" cy="664399"/>
          </a:xfrm>
        </p:spPr>
        <p:txBody>
          <a:bodyPr vert="horz" anchor="t"/>
          <a:lstStyle/>
          <a:p>
            <a:r>
              <a:rPr lang="en-US" sz="4400" dirty="0"/>
              <a:t>Gulf Coast Section 2024-2025 Goal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F2D369BC-9E1A-4AFC-BC05-FA3BB39D5514}"/>
              </a:ext>
            </a:extLst>
          </p:cNvPr>
          <p:cNvSpPr txBox="1">
            <a:spLocks/>
          </p:cNvSpPr>
          <p:nvPr/>
        </p:nvSpPr>
        <p:spPr>
          <a:xfrm>
            <a:off x="7195424" y="1775427"/>
            <a:ext cx="4845718" cy="34880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3363" marR="0" lvl="0" indent="-233363"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400" dirty="0"/>
              <a:t>Continue the strong relationship with the free venues that we have and provide them publicity.</a:t>
            </a:r>
          </a:p>
          <a:p>
            <a:pPr marL="233363" marR="0" lvl="0" indent="-233363"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400" dirty="0"/>
              <a:t>Nudge other groups to look for free venues. This can have a big impact on the financial performance of these groups</a:t>
            </a:r>
          </a:p>
          <a:p>
            <a:pPr marL="233363" marR="0" lvl="0" indent="-233363"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400" dirty="0"/>
              <a:t>Attend the internal kick off meetings of the SG’s and understand their plans. Attend their events and focus on quality.</a:t>
            </a:r>
          </a:p>
          <a:p>
            <a:pPr marL="233363" marR="0" lvl="0" indent="-233363"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400" dirty="0"/>
              <a:t>Promote joint events. The original event host who brings the speakers keeps the revenue.</a:t>
            </a:r>
          </a:p>
          <a:p>
            <a:pPr marL="233363" marR="0" lvl="0" indent="-233363"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400" dirty="0"/>
              <a:t>Continue working with teams to ensure that events are not concentrated within just a few days.</a:t>
            </a:r>
          </a:p>
          <a:p>
            <a:pPr marL="233363" marR="0" lvl="0" indent="-233363"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400" dirty="0"/>
              <a:t>Try to have one SG represented at the board meeting every month.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BDB84E31-77BF-4418-8081-6D9F2653A2A0}"/>
              </a:ext>
            </a:extLst>
          </p:cNvPr>
          <p:cNvSpPr txBox="1">
            <a:spLocks/>
          </p:cNvSpPr>
          <p:nvPr/>
        </p:nvSpPr>
        <p:spPr>
          <a:xfrm>
            <a:off x="7759277" y="906718"/>
            <a:ext cx="1974592" cy="6763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None/>
            </a:pPr>
            <a:r>
              <a:rPr lang="en-US" sz="1400" b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Priyavrat (PV) Shukla</a:t>
            </a:r>
          </a:p>
          <a:p>
            <a:pPr marL="0" indent="0" algn="ctr">
              <a:spcBef>
                <a:spcPts val="0"/>
              </a:spcBef>
              <a:buNone/>
            </a:pPr>
            <a:r>
              <a:rPr lang="en-US" sz="1400" b="1" dirty="0">
                <a:latin typeface="Calibri" panose="020F0502020204030204" pitchFamily="34" charset="0"/>
                <a:ea typeface="Calibri" panose="020F0502020204030204" pitchFamily="34" charset="0"/>
              </a:rPr>
              <a:t>Programs Chair</a:t>
            </a:r>
            <a:endParaRPr lang="en-US" sz="1400" b="1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indent="0" algn="ctr">
              <a:spcBef>
                <a:spcPts val="0"/>
              </a:spcBef>
              <a:buNone/>
            </a:pPr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</a:rPr>
              <a:t>SLB</a:t>
            </a:r>
            <a:endParaRPr lang="en-US" sz="12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2B39E95-169B-3034-D33C-6D8C361814B2}"/>
              </a:ext>
            </a:extLst>
          </p:cNvPr>
          <p:cNvSpPr txBox="1"/>
          <p:nvPr/>
        </p:nvSpPr>
        <p:spPr>
          <a:xfrm>
            <a:off x="520666" y="1273965"/>
            <a:ext cx="461665" cy="240999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vert="vert270" wrap="square" rtlCol="0">
            <a:spAutoFit/>
          </a:bodyPr>
          <a:lstStyle/>
          <a:p>
            <a:pPr algn="ctr"/>
            <a:r>
              <a:rPr lang="en-US" b="1" dirty="0"/>
              <a:t>Treasury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26CAE53-D505-9A3D-945D-BEE5BD7A91E0}"/>
              </a:ext>
            </a:extLst>
          </p:cNvPr>
          <p:cNvSpPr txBox="1"/>
          <p:nvPr/>
        </p:nvSpPr>
        <p:spPr>
          <a:xfrm>
            <a:off x="6566178" y="1273965"/>
            <a:ext cx="461665" cy="240999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vert="vert270" wrap="square" rtlCol="0">
            <a:spAutoFit/>
          </a:bodyPr>
          <a:lstStyle/>
          <a:p>
            <a:pPr algn="ctr"/>
            <a:r>
              <a:rPr lang="en-US" b="1" dirty="0"/>
              <a:t>Programs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9ED22B6-1D95-F525-DE1D-DEB85BDAA72B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17524" b="23444"/>
          <a:stretch/>
        </p:blipFill>
        <p:spPr>
          <a:xfrm>
            <a:off x="7280091" y="959291"/>
            <a:ext cx="643808" cy="629348"/>
          </a:xfrm>
          <a:prstGeom prst="ellipse">
            <a:avLst/>
          </a:prstGeom>
          <a:ln w="63500" cap="rnd">
            <a:noFill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79E886D-1BD1-F640-1228-62A83B16F37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779085" y="959291"/>
            <a:ext cx="643808" cy="573447"/>
          </a:xfrm>
          <a:prstGeom prst="ellipse">
            <a:avLst/>
          </a:prstGeom>
          <a:ln w="63500" cap="rnd">
            <a:noFill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19" name="Subtitle 2">
            <a:extLst>
              <a:ext uri="{FF2B5EF4-FFF2-40B4-BE49-F238E27FC236}">
                <a16:creationId xmlns:a16="http://schemas.microsoft.com/office/drawing/2014/main" id="{DF6B706B-0044-0820-1FA6-478BFB5BAE98}"/>
              </a:ext>
            </a:extLst>
          </p:cNvPr>
          <p:cNvSpPr txBox="1">
            <a:spLocks/>
          </p:cNvSpPr>
          <p:nvPr/>
        </p:nvSpPr>
        <p:spPr>
          <a:xfrm>
            <a:off x="10422893" y="906718"/>
            <a:ext cx="1702916" cy="6763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None/>
            </a:pPr>
            <a:r>
              <a:rPr lang="en-US" sz="1400" b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Chad Senters</a:t>
            </a:r>
          </a:p>
          <a:p>
            <a:pPr marL="0" indent="0" algn="ctr">
              <a:spcBef>
                <a:spcPts val="0"/>
              </a:spcBef>
              <a:buNone/>
            </a:pPr>
            <a:r>
              <a:rPr lang="en-US" sz="1400" b="1" dirty="0">
                <a:latin typeface="Calibri" panose="020F0502020204030204" pitchFamily="34" charset="0"/>
                <a:ea typeface="Calibri" panose="020F0502020204030204" pitchFamily="34" charset="0"/>
              </a:rPr>
              <a:t>Programs Vice Chair</a:t>
            </a:r>
            <a:endParaRPr lang="en-US" sz="1400" b="1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indent="0" algn="ctr">
              <a:spcBef>
                <a:spcPts val="0"/>
              </a:spcBef>
              <a:buNone/>
            </a:pPr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</a:rPr>
              <a:t>Corelab</a:t>
            </a:r>
            <a:endParaRPr lang="en-US" sz="12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8D146622-27D1-F728-A9F1-BAD6F189A0B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69506" y="955327"/>
            <a:ext cx="704898" cy="726477"/>
          </a:xfrm>
          <a:prstGeom prst="ellipse">
            <a:avLst/>
          </a:prstGeom>
          <a:ln w="63500" cap="rnd">
            <a:noFill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820E164B-D114-B32F-E44A-68144895624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356676" y="955327"/>
            <a:ext cx="718975" cy="664399"/>
          </a:xfrm>
          <a:prstGeom prst="ellipse">
            <a:avLst/>
          </a:prstGeom>
          <a:ln w="63500" cap="rnd">
            <a:noFill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27" name="Subtitle 2">
            <a:extLst>
              <a:ext uri="{FF2B5EF4-FFF2-40B4-BE49-F238E27FC236}">
                <a16:creationId xmlns:a16="http://schemas.microsoft.com/office/drawing/2014/main" id="{68020B24-4807-5779-085E-E98FAE34DFF6}"/>
              </a:ext>
            </a:extLst>
          </p:cNvPr>
          <p:cNvSpPr txBox="1">
            <a:spLocks/>
          </p:cNvSpPr>
          <p:nvPr/>
        </p:nvSpPr>
        <p:spPr>
          <a:xfrm>
            <a:off x="4110571" y="940268"/>
            <a:ext cx="1816096" cy="73190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None/>
            </a:pPr>
            <a:r>
              <a:rPr lang="en-US" sz="1600" b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Prue Smith</a:t>
            </a:r>
          </a:p>
          <a:p>
            <a:pPr marL="0" indent="0" algn="ctr">
              <a:spcBef>
                <a:spcPts val="0"/>
              </a:spcBef>
              <a:buNone/>
            </a:pPr>
            <a:r>
              <a:rPr lang="en-US" sz="1600" b="1" dirty="0">
                <a:latin typeface="Calibri" panose="020F0502020204030204" pitchFamily="34" charset="0"/>
                <a:ea typeface="Calibri" panose="020F0502020204030204" pitchFamily="34" charset="0"/>
              </a:rPr>
              <a:t>Treasury Vice Chair</a:t>
            </a:r>
            <a:endParaRPr lang="en-US" sz="1600" b="1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indent="0" algn="ctr">
              <a:spcBef>
                <a:spcPts val="0"/>
              </a:spcBef>
              <a:buNone/>
            </a:pPr>
            <a:r>
              <a:rPr lang="en-US" sz="1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BP</a:t>
            </a:r>
          </a:p>
        </p:txBody>
      </p:sp>
    </p:spTree>
    <p:extLst>
      <p:ext uri="{BB962C8B-B14F-4D97-AF65-F5344CB8AC3E}">
        <p14:creationId xmlns:p14="http://schemas.microsoft.com/office/powerpoint/2010/main" val="10959913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8E8D2F8D-ED3D-64EC-A206-4CC6DC13B9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55610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DF7F9B8-A397-4E3C-BA7C-55F3162BC6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710" y="102485"/>
            <a:ext cx="9779183" cy="664399"/>
          </a:xfrm>
        </p:spPr>
        <p:txBody>
          <a:bodyPr vert="horz" anchor="t"/>
          <a:lstStyle/>
          <a:p>
            <a:r>
              <a:rPr lang="en-US" sz="4400" dirty="0"/>
              <a:t>Gulf Coast Section 2024-2025 Goal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E45D47-D700-4E86-A624-4C213C244BA8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1171151-8EC3-4F65-AC59-88C8E409394C}" type="datetime1">
              <a:rPr lang="en-US" smtClean="0"/>
              <a:t>8/30/2024</a:t>
            </a:fld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B002AEB-FCC1-4F1C-88C1-9998152CB20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4551AFCA-E4F2-406D-8796-0A37A1BAC582}"/>
              </a:ext>
            </a:extLst>
          </p:cNvPr>
          <p:cNvSpPr txBox="1">
            <a:spLocks/>
          </p:cNvSpPr>
          <p:nvPr/>
        </p:nvSpPr>
        <p:spPr>
          <a:xfrm>
            <a:off x="1458641" y="1014061"/>
            <a:ext cx="1974592" cy="63787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None/>
            </a:pPr>
            <a:r>
              <a:rPr lang="en-US" sz="1400" b="1" dirty="0">
                <a:effectLst/>
                <a:ea typeface="Calibri" panose="020F0502020204030204" pitchFamily="34" charset="0"/>
              </a:rPr>
              <a:t>Nelly </a:t>
            </a:r>
            <a:r>
              <a:rPr lang="en-US" sz="1400" b="1" dirty="0" err="1">
                <a:effectLst/>
                <a:ea typeface="Calibri" panose="020F0502020204030204" pitchFamily="34" charset="0"/>
              </a:rPr>
              <a:t>DeNicolais</a:t>
            </a:r>
            <a:endParaRPr lang="en-US" sz="1400" b="1" dirty="0">
              <a:effectLst/>
              <a:ea typeface="Calibri" panose="020F0502020204030204" pitchFamily="34" charset="0"/>
            </a:endParaRPr>
          </a:p>
          <a:p>
            <a:pPr marL="0" indent="0" algn="ctr">
              <a:spcBef>
                <a:spcPts val="0"/>
              </a:spcBef>
              <a:buNone/>
            </a:pPr>
            <a:r>
              <a:rPr lang="en-US" sz="1400" b="1" dirty="0">
                <a:effectLst/>
                <a:ea typeface="Calibri" panose="020F0502020204030204" pitchFamily="34" charset="0"/>
              </a:rPr>
              <a:t>Membership Chair</a:t>
            </a:r>
          </a:p>
          <a:p>
            <a:pPr marL="0" indent="0" algn="ctr">
              <a:spcBef>
                <a:spcPts val="0"/>
              </a:spcBef>
              <a:buNone/>
            </a:pPr>
            <a:r>
              <a:rPr lang="en-US" sz="1200" dirty="0" err="1">
                <a:ea typeface="Calibri" panose="020F0502020204030204" pitchFamily="34" charset="0"/>
              </a:rPr>
              <a:t>Enovate</a:t>
            </a:r>
            <a:r>
              <a:rPr lang="en-US" sz="1200" dirty="0">
                <a:ea typeface="Calibri" panose="020F0502020204030204" pitchFamily="34" charset="0"/>
              </a:rPr>
              <a:t> Upstream</a:t>
            </a:r>
            <a:endParaRPr lang="en-US" sz="1200" dirty="0">
              <a:effectLst/>
              <a:ea typeface="Calibri" panose="020F050202020403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DA23AC1-2D08-411A-903A-49942FCEAAF0}"/>
              </a:ext>
            </a:extLst>
          </p:cNvPr>
          <p:cNvSpPr txBox="1"/>
          <p:nvPr/>
        </p:nvSpPr>
        <p:spPr>
          <a:xfrm>
            <a:off x="178028" y="1279630"/>
            <a:ext cx="461665" cy="229753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vert="vert270" wrap="square" rtlCol="0">
            <a:spAutoFit/>
          </a:bodyPr>
          <a:lstStyle/>
          <a:p>
            <a:pPr algn="ctr"/>
            <a:r>
              <a:rPr lang="en-US" b="1" dirty="0"/>
              <a:t>Membership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9A737F5-446E-46C2-B1CA-01778EF0B0A3}"/>
              </a:ext>
            </a:extLst>
          </p:cNvPr>
          <p:cNvSpPr txBox="1"/>
          <p:nvPr/>
        </p:nvSpPr>
        <p:spPr>
          <a:xfrm>
            <a:off x="848310" y="1793981"/>
            <a:ext cx="4294265" cy="43211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6213" indent="-176213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/>
              <a:t>Support student chapters at universities (Rice, University of Houston, Texas A&amp;M)</a:t>
            </a:r>
          </a:p>
          <a:p>
            <a:pPr marL="176213" indent="-176213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/>
              <a:t>Organize and host membership appreciation events</a:t>
            </a:r>
          </a:p>
          <a:p>
            <a:pPr marL="176213" indent="-176213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/>
              <a:t>Promote SPE through internal communications within companies</a:t>
            </a:r>
          </a:p>
          <a:p>
            <a:pPr marL="176213" indent="-176213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/>
              <a:t>Emphasize student benefits to encourage a higher conversion rate from student to professional members</a:t>
            </a:r>
          </a:p>
          <a:p>
            <a:pPr marL="176213" indent="-176213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/>
              <a:t>Participate at the major GCS events (Sporting Clays, Golf Tournament, Awards ceremonies, etc.)</a:t>
            </a:r>
          </a:p>
          <a:p>
            <a:pPr marL="176213" indent="-176213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/>
              <a:t>Network with other professional organizations at their events SPWLA, OTC, ATCE, </a:t>
            </a:r>
            <a:r>
              <a:rPr lang="en-US" sz="1600" dirty="0" err="1"/>
              <a:t>URTeC</a:t>
            </a:r>
            <a:r>
              <a:rPr lang="en-US" sz="1600" dirty="0"/>
              <a:t>, AAPG, AADE </a:t>
            </a:r>
          </a:p>
          <a:p>
            <a:pPr marL="176213" indent="-176213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/>
              <a:t>Communicate the Membership Anniversary Recognition program each year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F152FB6E-E9E7-4499-9A92-06FE91CE5A53}"/>
              </a:ext>
            </a:extLst>
          </p:cNvPr>
          <p:cNvSpPr txBox="1">
            <a:spLocks/>
          </p:cNvSpPr>
          <p:nvPr/>
        </p:nvSpPr>
        <p:spPr>
          <a:xfrm>
            <a:off x="2943231" y="1958292"/>
            <a:ext cx="2877312" cy="217711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6213" indent="-176213">
              <a:lnSpc>
                <a:spcPct val="100000"/>
              </a:lnSpc>
              <a:spcBef>
                <a:spcPts val="0"/>
              </a:spcBef>
            </a:pPr>
            <a:endParaRPr lang="en-US" sz="1600" dirty="0"/>
          </a:p>
        </p:txBody>
      </p:sp>
      <p:sp>
        <p:nvSpPr>
          <p:cNvPr id="7" name="AutoShape 2" descr="Araujo, Mariela G GSUSI-PTX/I/C">
            <a:extLst>
              <a:ext uri="{FF2B5EF4-FFF2-40B4-BE49-F238E27FC236}">
                <a16:creationId xmlns:a16="http://schemas.microsoft.com/office/drawing/2014/main" id="{AC835980-423B-504A-57FD-F0EDBCC99671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-194982" y="3424767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A9E30E52-36FE-A89A-0C99-2393219DFE6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48310" y="924604"/>
            <a:ext cx="784964" cy="788242"/>
          </a:xfrm>
          <a:prstGeom prst="ellipse">
            <a:avLst/>
          </a:prstGeom>
          <a:ln w="63500" cap="rnd">
            <a:noFill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2B5177DF-D6CD-E375-0B05-6CA7F44B97F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199214" y="881485"/>
            <a:ext cx="790297" cy="797894"/>
          </a:xfrm>
          <a:prstGeom prst="ellipse">
            <a:avLst/>
          </a:prstGeom>
          <a:ln w="63500" cap="rnd">
            <a:noFill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24" name="Subtitle 2">
            <a:extLst>
              <a:ext uri="{FF2B5EF4-FFF2-40B4-BE49-F238E27FC236}">
                <a16:creationId xmlns:a16="http://schemas.microsoft.com/office/drawing/2014/main" id="{06F446AA-189D-84F9-F557-43F3708070F4}"/>
              </a:ext>
            </a:extLst>
          </p:cNvPr>
          <p:cNvSpPr txBox="1">
            <a:spLocks/>
          </p:cNvSpPr>
          <p:nvPr/>
        </p:nvSpPr>
        <p:spPr>
          <a:xfrm>
            <a:off x="3816252" y="960690"/>
            <a:ext cx="1915681" cy="63787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None/>
            </a:pPr>
            <a:r>
              <a:rPr lang="en-US" sz="1400" b="1" dirty="0">
                <a:effectLst/>
                <a:ea typeface="Calibri" panose="020F0502020204030204" pitchFamily="34" charset="0"/>
              </a:rPr>
              <a:t>Laura Santos</a:t>
            </a:r>
          </a:p>
          <a:p>
            <a:pPr marL="0" indent="0" algn="ctr">
              <a:spcBef>
                <a:spcPts val="0"/>
              </a:spcBef>
              <a:buNone/>
            </a:pPr>
            <a:r>
              <a:rPr lang="en-US" sz="1200" b="1" dirty="0">
                <a:effectLst/>
                <a:ea typeface="Calibri" panose="020F0502020204030204" pitchFamily="34" charset="0"/>
              </a:rPr>
              <a:t>Membership Vice Chair</a:t>
            </a:r>
          </a:p>
          <a:p>
            <a:pPr marL="0" indent="0" algn="ctr">
              <a:spcBef>
                <a:spcPts val="0"/>
              </a:spcBef>
              <a:buNone/>
            </a:pPr>
            <a:r>
              <a:rPr lang="en-US" sz="1200" dirty="0">
                <a:ea typeface="Calibri" panose="020F0502020204030204" pitchFamily="34" charset="0"/>
              </a:rPr>
              <a:t>CMG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D73EC08-3CBE-F6E6-AE04-240C4F1DD69B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b="6466"/>
          <a:stretch/>
        </p:blipFill>
        <p:spPr>
          <a:xfrm>
            <a:off x="5654640" y="694372"/>
            <a:ext cx="2045060" cy="295304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1F31EA58-E02C-5C07-05B8-5197D029212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939018" y="649292"/>
            <a:ext cx="1971811" cy="30432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14A219C1-90EE-2BF1-20AB-4B2F300BC60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645027" y="3665210"/>
            <a:ext cx="2045060" cy="316133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7004C7E1-67EA-B7CB-3C76-C4901686B2F7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t="26694" r="-464"/>
          <a:stretch/>
        </p:blipFill>
        <p:spPr>
          <a:xfrm>
            <a:off x="7819188" y="5332678"/>
            <a:ext cx="4240742" cy="1388797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0677A901-F2BA-66AE-EF6C-16CD52614BED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7670" t="32035" r="5610" b="14799"/>
          <a:stretch/>
        </p:blipFill>
        <p:spPr>
          <a:xfrm>
            <a:off x="8659878" y="3853718"/>
            <a:ext cx="2842892" cy="1317733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AC9C8494-B810-C116-9D96-5BCF3C51728B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175977" y="924604"/>
            <a:ext cx="1855619" cy="1388797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AE0EA4F9-0132-F346-416A-AC673AE0E1CF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t="20721" r="22086" b="249"/>
          <a:stretch/>
        </p:blipFill>
        <p:spPr>
          <a:xfrm>
            <a:off x="10422893" y="2438213"/>
            <a:ext cx="1463667" cy="1254278"/>
          </a:xfrm>
          <a:prstGeom prst="rect">
            <a:avLst/>
          </a:prstGeom>
        </p:spPr>
      </p:pic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9A004839-FC70-95A5-275C-1B1012FA27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PE-GCS KICK-OFF MEETING 2024-202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855952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ED664BE-1465-7797-8A71-2DD5CC5D1CB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66072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D664BE-1465-7797-8A71-2DD5CC5D1C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5ABC1F-293B-34C4-A6B6-68E1D9DB8FA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EAD4826E-CCBA-410D-9FF4-B5276709A49A}" type="datetime1">
              <a:rPr lang="en-US" smtClean="0"/>
              <a:t>8/30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FE9F6B4-7BBE-E0AF-9A61-93923B37D6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PE-GCS KICK-OFF MEETING 2024-2025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23963F6-DEE2-9F9D-7B78-A4E9BAA113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AA9139C-B39D-4C0B-2EA8-FC0E29773215}"/>
              </a:ext>
            </a:extLst>
          </p:cNvPr>
          <p:cNvSpPr txBox="1"/>
          <p:nvPr/>
        </p:nvSpPr>
        <p:spPr>
          <a:xfrm>
            <a:off x="8947193" y="886731"/>
            <a:ext cx="1999482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b="1" dirty="0"/>
              <a:t>Gilberto Marmolejo</a:t>
            </a:r>
          </a:p>
          <a:p>
            <a:pPr algn="ctr"/>
            <a:r>
              <a:rPr lang="en-US" sz="1400" b="1" dirty="0">
                <a:effectLst/>
                <a:ea typeface="Calibri" panose="020F0502020204030204" pitchFamily="34" charset="0"/>
              </a:rPr>
              <a:t>Chair</a:t>
            </a:r>
          </a:p>
          <a:p>
            <a:pPr algn="ctr"/>
            <a:r>
              <a:rPr lang="en-US" sz="1400" dirty="0">
                <a:solidFill>
                  <a:schemeClr val="dk1"/>
                </a:solidFill>
              </a:rPr>
              <a:t>NexMile</a:t>
            </a:r>
          </a:p>
          <a:p>
            <a:pPr algn="ctr"/>
            <a:endParaRPr lang="en-US" sz="1400" b="1" dirty="0">
              <a:effectLst/>
              <a:ea typeface="Calibri" panose="020F050202020403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DA23AC1-2D08-411A-903A-49942FCEAAF0}"/>
              </a:ext>
            </a:extLst>
          </p:cNvPr>
          <p:cNvSpPr txBox="1"/>
          <p:nvPr/>
        </p:nvSpPr>
        <p:spPr>
          <a:xfrm>
            <a:off x="7051111" y="1349360"/>
            <a:ext cx="461665" cy="274261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vert="vert270" wrap="square" rtlCol="0">
            <a:spAutoFit/>
          </a:bodyPr>
          <a:lstStyle/>
          <a:p>
            <a:pPr algn="ctr"/>
            <a:r>
              <a:rPr lang="en-US" b="1" dirty="0"/>
              <a:t>Young professionals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1A07A21-B520-101B-B64B-DB5C0B84F79A}"/>
              </a:ext>
            </a:extLst>
          </p:cNvPr>
          <p:cNvSpPr txBox="1">
            <a:spLocks/>
          </p:cNvSpPr>
          <p:nvPr/>
        </p:nvSpPr>
        <p:spPr>
          <a:xfrm>
            <a:off x="643710" y="102485"/>
            <a:ext cx="9779183" cy="66439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400"/>
              <a:t>Gulf Coast Section 2024-2025 Goals</a:t>
            </a:r>
            <a:endParaRPr lang="en-US" sz="4400" dirty="0"/>
          </a:p>
        </p:txBody>
      </p:sp>
      <p:sp>
        <p:nvSpPr>
          <p:cNvPr id="9" name="Google Shape;206;p3">
            <a:extLst>
              <a:ext uri="{FF2B5EF4-FFF2-40B4-BE49-F238E27FC236}">
                <a16:creationId xmlns:a16="http://schemas.microsoft.com/office/drawing/2014/main" id="{A6C190F7-97F2-00FC-26B1-E946C9565C18}"/>
              </a:ext>
            </a:extLst>
          </p:cNvPr>
          <p:cNvSpPr txBox="1"/>
          <p:nvPr/>
        </p:nvSpPr>
        <p:spPr>
          <a:xfrm>
            <a:off x="7512776" y="1764732"/>
            <a:ext cx="4285129" cy="443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457200" lvl="0" indent="-3175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Char char="●"/>
            </a:pPr>
            <a:r>
              <a:rPr lang="en-US" sz="1600" b="1" dirty="0">
                <a:solidFill>
                  <a:schemeClr val="dk1"/>
                </a:solidFill>
              </a:rPr>
              <a:t>Increase membership</a:t>
            </a:r>
            <a:r>
              <a:rPr lang="en-US" sz="1600" dirty="0">
                <a:solidFill>
                  <a:schemeClr val="dk1"/>
                </a:solidFill>
              </a:rPr>
              <a:t> base by attracting members from diverse backgrounds within O&amp;G companies.</a:t>
            </a:r>
            <a:endParaRPr sz="1600" dirty="0">
              <a:solidFill>
                <a:schemeClr val="dk1"/>
              </a:solidFill>
            </a:endParaRPr>
          </a:p>
          <a:p>
            <a:pPr marL="457200" lvl="0" indent="-3175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Char char="●"/>
            </a:pPr>
            <a:r>
              <a:rPr lang="en-US" sz="1600" dirty="0">
                <a:solidFill>
                  <a:schemeClr val="dk1"/>
                </a:solidFill>
              </a:rPr>
              <a:t>Enhance member engagement by promoting opportunities for members to participate in leadership roles. </a:t>
            </a:r>
            <a:endParaRPr sz="1600" dirty="0">
              <a:solidFill>
                <a:schemeClr val="dk1"/>
              </a:solidFill>
            </a:endParaRPr>
          </a:p>
          <a:p>
            <a:pPr marL="457200" lvl="0" indent="-3175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Char char="●"/>
            </a:pPr>
            <a:r>
              <a:rPr lang="en-US" sz="1600" b="1" dirty="0">
                <a:solidFill>
                  <a:schemeClr val="dk1"/>
                </a:solidFill>
              </a:rPr>
              <a:t>Increase professional events attendance</a:t>
            </a:r>
            <a:r>
              <a:rPr lang="en-US" sz="1600" dirty="0">
                <a:solidFill>
                  <a:schemeClr val="dk1"/>
                </a:solidFill>
              </a:rPr>
              <a:t> by securing high-profile speakers and industry experts:	</a:t>
            </a:r>
            <a:endParaRPr sz="1600" dirty="0">
              <a:solidFill>
                <a:schemeClr val="dk1"/>
              </a:solidFill>
            </a:endParaRPr>
          </a:p>
          <a:p>
            <a:pPr marL="914400" lvl="1" indent="-3175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Char char="○"/>
            </a:pPr>
            <a:r>
              <a:rPr lang="en-US" sz="1600" dirty="0">
                <a:solidFill>
                  <a:schemeClr val="dk1"/>
                </a:solidFill>
              </a:rPr>
              <a:t>Panelist</a:t>
            </a:r>
            <a:endParaRPr sz="1600" dirty="0">
              <a:solidFill>
                <a:schemeClr val="dk1"/>
              </a:solidFill>
            </a:endParaRPr>
          </a:p>
          <a:p>
            <a:pPr marL="914400" lvl="1" indent="-3175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Char char="○"/>
            </a:pPr>
            <a:r>
              <a:rPr lang="en-US" sz="1600" dirty="0">
                <a:solidFill>
                  <a:schemeClr val="dk1"/>
                </a:solidFill>
              </a:rPr>
              <a:t>Workshops </a:t>
            </a:r>
            <a:endParaRPr sz="1600" dirty="0">
              <a:solidFill>
                <a:schemeClr val="dk1"/>
              </a:solidFill>
            </a:endParaRPr>
          </a:p>
          <a:p>
            <a:pPr marL="457200" lvl="0" indent="-3175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Char char="●"/>
            </a:pPr>
            <a:r>
              <a:rPr lang="en-US" sz="1600" dirty="0">
                <a:solidFill>
                  <a:schemeClr val="dk1"/>
                </a:solidFill>
              </a:rPr>
              <a:t>Develop and execute a post-event marketing strategy to maintain engagement and leverage event content</a:t>
            </a:r>
            <a:endParaRPr sz="1600" dirty="0">
              <a:solidFill>
                <a:schemeClr val="dk1"/>
              </a:solidFill>
            </a:endParaRPr>
          </a:p>
          <a:p>
            <a:pPr marL="457200" lvl="1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</a:pPr>
            <a:endParaRPr sz="1600" dirty="0">
              <a:solidFill>
                <a:schemeClr val="dk1"/>
              </a:solidFill>
            </a:endParaRPr>
          </a:p>
        </p:txBody>
      </p:sp>
      <p:pic>
        <p:nvPicPr>
          <p:cNvPr id="10" name="Google Shape;213;p3">
            <a:extLst>
              <a:ext uri="{FF2B5EF4-FFF2-40B4-BE49-F238E27FC236}">
                <a16:creationId xmlns:a16="http://schemas.microsoft.com/office/drawing/2014/main" id="{81DC8DA8-D2EC-6DD5-FF00-8E4995B3F8D9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 t="11034" b="28167"/>
          <a:stretch/>
        </p:blipFill>
        <p:spPr>
          <a:xfrm>
            <a:off x="7908751" y="831017"/>
            <a:ext cx="844200" cy="769500"/>
          </a:xfrm>
          <a:prstGeom prst="ellipse">
            <a:avLst/>
          </a:prstGeom>
          <a:noFill/>
          <a:ln>
            <a:noFill/>
          </a:ln>
          <a:effectLst>
            <a:outerShdw blurRad="381000" dist="292100" dir="5400000" sx="-80000" sy="-18000" rotWithShape="0">
              <a:srgbClr val="000000">
                <a:alpha val="21960"/>
              </a:srgbClr>
            </a:outerShdw>
          </a:effec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E9D60DA5-2981-4A37-86FA-660B87C69F69}"/>
              </a:ext>
            </a:extLst>
          </p:cNvPr>
          <p:cNvSpPr txBox="1"/>
          <p:nvPr/>
        </p:nvSpPr>
        <p:spPr>
          <a:xfrm>
            <a:off x="200013" y="1359588"/>
            <a:ext cx="461665" cy="275742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vert="vert270" wrap="square" rtlCol="0">
            <a:spAutoFit/>
          </a:bodyPr>
          <a:lstStyle/>
          <a:p>
            <a:pPr algn="ctr"/>
            <a:r>
              <a:rPr lang="en-US" b="1" dirty="0"/>
              <a:t>Education</a:t>
            </a:r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C9BF50E9-FA23-4CC7-BD6E-526E57D57C13}"/>
              </a:ext>
            </a:extLst>
          </p:cNvPr>
          <p:cNvSpPr txBox="1">
            <a:spLocks/>
          </p:cNvSpPr>
          <p:nvPr/>
        </p:nvSpPr>
        <p:spPr>
          <a:xfrm>
            <a:off x="1270689" y="885065"/>
            <a:ext cx="1754098" cy="46429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None/>
            </a:pPr>
            <a:r>
              <a:rPr lang="en-US" sz="1400" b="1" dirty="0">
                <a:ea typeface="Calibri" panose="020F0502020204030204" pitchFamily="34" charset="0"/>
              </a:rPr>
              <a:t>Nami Southern</a:t>
            </a:r>
            <a:endParaRPr lang="en-US" sz="1400" b="1" dirty="0">
              <a:effectLst/>
              <a:ea typeface="Calibri" panose="020F0502020204030204" pitchFamily="34" charset="0"/>
            </a:endParaRPr>
          </a:p>
          <a:p>
            <a:pPr marL="0" indent="0" algn="ctr">
              <a:spcBef>
                <a:spcPts val="0"/>
              </a:spcBef>
              <a:buNone/>
            </a:pPr>
            <a:r>
              <a:rPr lang="en-US" sz="1400" b="1" dirty="0">
                <a:ea typeface="Calibri" panose="020F0502020204030204" pitchFamily="34" charset="0"/>
              </a:rPr>
              <a:t>Education Chair</a:t>
            </a:r>
            <a:endParaRPr lang="en-US" sz="1200" dirty="0">
              <a:effectLst/>
              <a:ea typeface="Calibri" panose="020F050202020403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1242788-7C77-4457-B5BB-2981C7A9C65D}"/>
              </a:ext>
            </a:extLst>
          </p:cNvPr>
          <p:cNvSpPr txBox="1"/>
          <p:nvPr/>
        </p:nvSpPr>
        <p:spPr>
          <a:xfrm>
            <a:off x="840291" y="1815437"/>
            <a:ext cx="5255709" cy="40456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buSzPts val="1000"/>
              <a:tabLst>
                <a:tab pos="457200" algn="l"/>
              </a:tabLst>
            </a:pPr>
            <a:r>
              <a:rPr lang="en-US" sz="1400" dirty="0"/>
              <a:t>Achieve a 100% graduation rate for our scholarship programs and attain a higher retention rate for scholars pursuing careers in the energy industry</a:t>
            </a:r>
            <a:endParaRPr lang="en-US" sz="1400" b="1" dirty="0">
              <a:effectLst/>
              <a:ea typeface="Times New Roman" panose="02020603050405020304" pitchFamily="18" charset="0"/>
            </a:endParaRPr>
          </a:p>
          <a:p>
            <a:pPr marL="176213" lvl="0" indent="-176213"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400" b="1" dirty="0">
                <a:effectLst/>
                <a:ea typeface="Times New Roman" panose="02020603050405020304" pitchFamily="18" charset="0"/>
              </a:rPr>
              <a:t>Scholarship applications  </a:t>
            </a:r>
            <a:r>
              <a:rPr lang="en-US" sz="1400" dirty="0"/>
              <a:t>Improve scholarship  application process and the past scholar database</a:t>
            </a:r>
          </a:p>
          <a:p>
            <a:pPr marL="176213" indent="-176213"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400" b="1" dirty="0"/>
              <a:t>Internship Program  </a:t>
            </a:r>
            <a:r>
              <a:rPr lang="en-US" sz="1400" dirty="0"/>
              <a:t>Restart internship program, recruit internship chair and secure at least 6 internships for summer 2025</a:t>
            </a:r>
          </a:p>
          <a:p>
            <a:pPr marL="176213" indent="-176213"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400" b="1" dirty="0">
                <a:effectLst/>
                <a:ea typeface="Times New Roman" panose="02020603050405020304" pitchFamily="18" charset="0"/>
              </a:rPr>
              <a:t>Mentoring Program  </a:t>
            </a:r>
            <a:r>
              <a:rPr lang="en-US" sz="1400" dirty="0"/>
              <a:t>Build and pilot a mentoring program and recruit volunteers to commit to mentoring scholarship students</a:t>
            </a:r>
          </a:p>
          <a:p>
            <a:pPr marL="171450" marR="0" lvl="0" indent="-17145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400" b="1" dirty="0"/>
              <a:t>CISH - Communities in School of Houston </a:t>
            </a:r>
            <a:r>
              <a:rPr lang="en-US" sz="1400" dirty="0"/>
              <a:t>Strengthen collaboration between CISH and SPE-GCS and increase the number of scholarship applicants.</a:t>
            </a:r>
          </a:p>
          <a:p>
            <a:pPr marL="171450" indent="-171450">
              <a:lnSpc>
                <a:spcPct val="107000"/>
              </a:lnSpc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400" b="1" dirty="0"/>
              <a:t>STEM Tutoring</a:t>
            </a:r>
            <a:r>
              <a:rPr lang="en-US" sz="1400" dirty="0"/>
              <a:t> Grow the HS STEM Tutoring program (4 schools &amp; 10 volunteers)</a:t>
            </a:r>
          </a:p>
          <a:p>
            <a:pPr marL="176213" marR="0" indent="-176213">
              <a:spcBef>
                <a:spcPts val="0"/>
              </a:spcBef>
              <a:spcAft>
                <a:spcPts val="0"/>
              </a:spcAft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400" b="1" dirty="0"/>
              <a:t>Educational Events </a:t>
            </a:r>
            <a:r>
              <a:rPr lang="en-US" sz="1400" dirty="0"/>
              <a:t>HS College recruiting events &amp; collaboration with Community Services </a:t>
            </a:r>
          </a:p>
          <a:p>
            <a:pPr lvl="0">
              <a:buSzPts val="1000"/>
              <a:tabLst>
                <a:tab pos="457200" algn="l"/>
              </a:tabLst>
            </a:pPr>
            <a:endParaRPr lang="en-US" sz="1400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154C348-6242-43CC-9F95-6B1820BF726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43677" y="880395"/>
            <a:ext cx="731520" cy="731520"/>
          </a:xfrm>
          <a:prstGeom prst="rect">
            <a:avLst/>
          </a:prstGeom>
        </p:spPr>
      </p:pic>
      <p:sp>
        <p:nvSpPr>
          <p:cNvPr id="22" name="Subtitle 2">
            <a:extLst>
              <a:ext uri="{FF2B5EF4-FFF2-40B4-BE49-F238E27FC236}">
                <a16:creationId xmlns:a16="http://schemas.microsoft.com/office/drawing/2014/main" id="{2A34874D-5768-45A6-8766-10EB89E86E9E}"/>
              </a:ext>
            </a:extLst>
          </p:cNvPr>
          <p:cNvSpPr txBox="1">
            <a:spLocks/>
          </p:cNvSpPr>
          <p:nvPr/>
        </p:nvSpPr>
        <p:spPr>
          <a:xfrm>
            <a:off x="2414233" y="1222733"/>
            <a:ext cx="2349517" cy="59270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None/>
            </a:pPr>
            <a:r>
              <a:rPr lang="en-US" sz="1400" b="1" dirty="0">
                <a:ea typeface="Calibri" panose="020F0502020204030204" pitchFamily="34" charset="0"/>
              </a:rPr>
              <a:t>Anna Wei</a:t>
            </a:r>
            <a:endParaRPr lang="en-US" sz="1400" b="1" dirty="0">
              <a:effectLst/>
              <a:ea typeface="Calibri" panose="020F0502020204030204" pitchFamily="34" charset="0"/>
            </a:endParaRPr>
          </a:p>
          <a:p>
            <a:pPr marL="0" indent="0" algn="ctr">
              <a:spcBef>
                <a:spcPts val="0"/>
              </a:spcBef>
              <a:buNone/>
            </a:pPr>
            <a:r>
              <a:rPr lang="en-US" sz="1400" b="1" dirty="0">
                <a:ea typeface="Calibri" panose="020F0502020204030204" pitchFamily="34" charset="0"/>
              </a:rPr>
              <a:t>Education Vice Chair </a:t>
            </a:r>
          </a:p>
          <a:p>
            <a:pPr marL="0" indent="0" algn="ctr">
              <a:spcBef>
                <a:spcPts val="0"/>
              </a:spcBef>
              <a:buNone/>
            </a:pPr>
            <a:r>
              <a:rPr lang="en-US" sz="1200" dirty="0">
                <a:ea typeface="Calibri" panose="020F0502020204030204" pitchFamily="34" charset="0"/>
              </a:rPr>
              <a:t>SLB</a:t>
            </a:r>
            <a:endParaRPr lang="en-US" sz="1200" dirty="0">
              <a:effectLst/>
              <a:ea typeface="Calibri" panose="020F050202020403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6C1B988-B496-D326-B11F-6DF93280F14D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04" t="14120" r="8486" b="15162"/>
          <a:stretch/>
        </p:blipFill>
        <p:spPr bwMode="auto">
          <a:xfrm>
            <a:off x="777004" y="936118"/>
            <a:ext cx="636074" cy="664399"/>
          </a:xfrm>
          <a:prstGeom prst="ellipse">
            <a:avLst/>
          </a:prstGeom>
          <a:ln w="63500" cap="rnd">
            <a:noFill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319797634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48FEF140-ED1D-0DAD-B16F-7D154A8C82B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FEF140-ED1D-0DAD-B16F-7D154A8C82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DF7F9B8-A397-4E3C-BA7C-55F3162BC6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710" y="102485"/>
            <a:ext cx="9779183" cy="664399"/>
          </a:xfrm>
        </p:spPr>
        <p:txBody>
          <a:bodyPr vert="horz" anchor="t"/>
          <a:lstStyle/>
          <a:p>
            <a:r>
              <a:rPr lang="en-US" sz="4400" dirty="0"/>
              <a:t>Gulf Coast Section 2024-2025 Goal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6CEF3A0-AC1B-43D7-BA36-AF12DC27AF7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9576" y="1670201"/>
            <a:ext cx="4629806" cy="3173199"/>
          </a:xfrm>
        </p:spPr>
        <p:txBody>
          <a:bodyPr/>
          <a:lstStyle/>
          <a:p>
            <a:pPr marL="176213" indent="-176213">
              <a:lnSpc>
                <a:spcPct val="100000"/>
              </a:lnSpc>
              <a:spcBef>
                <a:spcPts val="100"/>
              </a:spcBef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600" dirty="0"/>
              <a:t>Increase High School Attendees &amp; Events participation</a:t>
            </a:r>
          </a:p>
          <a:p>
            <a:pPr marL="176213" indent="-176213">
              <a:lnSpc>
                <a:spcPct val="100000"/>
              </a:lnSpc>
              <a:spcBef>
                <a:spcPts val="100"/>
              </a:spcBef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600" dirty="0"/>
              <a:t>Conduct the following events </a:t>
            </a:r>
          </a:p>
          <a:p>
            <a:pPr marL="633413" lvl="1" indent="-176213">
              <a:lnSpc>
                <a:spcPct val="100000"/>
              </a:lnSpc>
              <a:spcBef>
                <a:spcPts val="100"/>
              </a:spcBef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600" dirty="0"/>
              <a:t>STEM Mega Event</a:t>
            </a:r>
          </a:p>
          <a:p>
            <a:pPr marL="633413" lvl="1" indent="-176213">
              <a:lnSpc>
                <a:spcPct val="100000"/>
              </a:lnSpc>
              <a:spcBef>
                <a:spcPts val="100"/>
              </a:spcBef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600" dirty="0"/>
              <a:t>Strake - St. Agnus STEM Event</a:t>
            </a:r>
          </a:p>
          <a:p>
            <a:pPr marL="633413" lvl="1" indent="-176213">
              <a:lnSpc>
                <a:spcPct val="100000"/>
              </a:lnSpc>
              <a:spcBef>
                <a:spcPts val="100"/>
              </a:spcBef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600" dirty="0"/>
              <a:t>Katy ISD Robotics Event</a:t>
            </a:r>
          </a:p>
          <a:p>
            <a:pPr marL="633413" lvl="1" indent="-176213">
              <a:lnSpc>
                <a:spcPct val="100000"/>
              </a:lnSpc>
              <a:spcBef>
                <a:spcPts val="100"/>
              </a:spcBef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600" dirty="0"/>
              <a:t>ICOTA committee collaboration</a:t>
            </a:r>
          </a:p>
          <a:p>
            <a:pPr marL="176213" indent="-176213">
              <a:lnSpc>
                <a:spcPct val="100000"/>
              </a:lnSpc>
              <a:spcBef>
                <a:spcPts val="100"/>
              </a:spcBef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600" dirty="0"/>
              <a:t>Collaboration with the Education Committee</a:t>
            </a:r>
          </a:p>
          <a:p>
            <a:pPr marL="176213" indent="-176213">
              <a:lnSpc>
                <a:spcPct val="100000"/>
              </a:lnSpc>
              <a:spcBef>
                <a:spcPts val="100"/>
              </a:spcBef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600" dirty="0"/>
              <a:t>SMEs Talks for HS Student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E45D47-D700-4E86-A624-4C213C244BA8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3C9DF980-4C42-4051-AC59-E023A75842DC}" type="datetime1">
              <a:rPr lang="en-US" smtClean="0"/>
              <a:t>8/30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4F4EDF6-E89A-4840-951E-333610902C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PE-GCS KICK-OFF MEETING 2024-2025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B002AEB-FCC1-4F1C-88C1-9998152CB20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32C0BEC-EC48-413F-A4EF-492452612218}"/>
              </a:ext>
            </a:extLst>
          </p:cNvPr>
          <p:cNvSpPr txBox="1"/>
          <p:nvPr/>
        </p:nvSpPr>
        <p:spPr>
          <a:xfrm>
            <a:off x="141149" y="1784283"/>
            <a:ext cx="461665" cy="271000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vert="vert270" wrap="square" rtlCol="0">
            <a:spAutoFit/>
          </a:bodyPr>
          <a:lstStyle/>
          <a:p>
            <a:pPr algn="ctr"/>
            <a:r>
              <a:rPr lang="en-US" b="1" dirty="0"/>
              <a:t>Community Services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E5FE5E26-6093-453A-A9A8-A871617845BE}"/>
              </a:ext>
            </a:extLst>
          </p:cNvPr>
          <p:cNvSpPr txBox="1">
            <a:spLocks/>
          </p:cNvSpPr>
          <p:nvPr/>
        </p:nvSpPr>
        <p:spPr>
          <a:xfrm>
            <a:off x="1318785" y="834971"/>
            <a:ext cx="2311921" cy="76714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None/>
            </a:pPr>
            <a:r>
              <a:rPr lang="en-US" sz="1400" b="1" dirty="0">
                <a:solidFill>
                  <a:srgbClr val="262626"/>
                </a:solidFill>
                <a:effectLst/>
              </a:rPr>
              <a:t>Alvaro Gomez</a:t>
            </a:r>
          </a:p>
          <a:p>
            <a:pPr marL="0" indent="0" algn="ctr">
              <a:spcBef>
                <a:spcPts val="0"/>
              </a:spcBef>
              <a:buNone/>
            </a:pPr>
            <a:r>
              <a:rPr lang="en-US" sz="1400" b="1" dirty="0">
                <a:solidFill>
                  <a:srgbClr val="262626"/>
                </a:solidFill>
              </a:rPr>
              <a:t>Community Services Chair</a:t>
            </a:r>
          </a:p>
          <a:p>
            <a:pPr marL="0" indent="0" algn="ctr">
              <a:spcBef>
                <a:spcPts val="0"/>
              </a:spcBef>
              <a:buNone/>
            </a:pPr>
            <a:r>
              <a:rPr lang="en-US" sz="1200" dirty="0">
                <a:solidFill>
                  <a:srgbClr val="262626"/>
                </a:solidFill>
                <a:effectLst/>
              </a:rPr>
              <a:t>Baker Hugh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7C20F7A-A504-A0DC-C855-97000C01C7B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2814" y="766884"/>
            <a:ext cx="788565" cy="805463"/>
          </a:xfrm>
          <a:prstGeom prst="ellipse">
            <a:avLst/>
          </a:prstGeom>
          <a:ln w="63500" cap="rnd">
            <a:noFill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26CEF3A0-AC1B-43D7-BA36-AF12DC27AF7C}"/>
              </a:ext>
            </a:extLst>
          </p:cNvPr>
          <p:cNvSpPr txBox="1">
            <a:spLocks/>
          </p:cNvSpPr>
          <p:nvPr/>
        </p:nvSpPr>
        <p:spPr>
          <a:xfrm>
            <a:off x="6370224" y="1624023"/>
            <a:ext cx="5590980" cy="458231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176213">
              <a:lnSpc>
                <a:spcPct val="100000"/>
              </a:lnSpc>
              <a:spcBef>
                <a:spcPts val="100"/>
              </a:spcBef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600" dirty="0"/>
              <a:t>Sponsorship Acquisition:</a:t>
            </a:r>
          </a:p>
          <a:p>
            <a:pPr marL="742950" lvl="1" indent="-176213">
              <a:lnSpc>
                <a:spcPct val="100000"/>
              </a:lnSpc>
              <a:spcBef>
                <a:spcPts val="100"/>
              </a:spcBef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400" dirty="0"/>
              <a:t>Identify and approach potential sponsors, both individuals and businesses, that align with the nonprofit’s mission.</a:t>
            </a:r>
          </a:p>
          <a:p>
            <a:pPr marL="742950" lvl="1" indent="-176213">
              <a:lnSpc>
                <a:spcPct val="100000"/>
              </a:lnSpc>
              <a:spcBef>
                <a:spcPts val="100"/>
              </a:spcBef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400" dirty="0"/>
              <a:t>Share media guide and raise sponsorship for advertising on GCS website and e-newsletter. </a:t>
            </a:r>
          </a:p>
          <a:p>
            <a:pPr marL="742950" lvl="1" indent="-176213">
              <a:lnSpc>
                <a:spcPct val="100000"/>
              </a:lnSpc>
              <a:spcBef>
                <a:spcPts val="100"/>
              </a:spcBef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400" dirty="0"/>
              <a:t>Create a Sponsorship Pitch-deck with tailored packages that offer value to sponsors.</a:t>
            </a:r>
          </a:p>
          <a:p>
            <a:pPr marL="342900" indent="-176213">
              <a:lnSpc>
                <a:spcPct val="100000"/>
              </a:lnSpc>
              <a:spcBef>
                <a:spcPts val="100"/>
              </a:spcBef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600" dirty="0"/>
              <a:t>Relationship Management:</a:t>
            </a:r>
          </a:p>
          <a:p>
            <a:pPr marL="742950" lvl="1" indent="-176213">
              <a:lnSpc>
                <a:spcPct val="100000"/>
              </a:lnSpc>
              <a:spcBef>
                <a:spcPts val="100"/>
              </a:spcBef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400" dirty="0"/>
              <a:t>Build and maintain long-term relationships with sponsors with regular updates of the impact of their contribution</a:t>
            </a:r>
          </a:p>
          <a:p>
            <a:pPr marL="742950" lvl="1" indent="-176213">
              <a:lnSpc>
                <a:spcPct val="100000"/>
              </a:lnSpc>
              <a:spcBef>
                <a:spcPts val="100"/>
              </a:spcBef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400" dirty="0"/>
              <a:t>Builds a contact list to categorize Tier 1, 2 and 3  and Ensure sponsor recognition in marketing materials, events etc. </a:t>
            </a:r>
          </a:p>
          <a:p>
            <a:pPr marL="342900" indent="-176213">
              <a:lnSpc>
                <a:spcPct val="100000"/>
              </a:lnSpc>
              <a:spcBef>
                <a:spcPts val="100"/>
              </a:spcBef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600" dirty="0"/>
              <a:t>Compliance and Ethics:</a:t>
            </a:r>
          </a:p>
          <a:p>
            <a:pPr marL="742950" lvl="1" indent="-176213">
              <a:lnSpc>
                <a:spcPct val="100000"/>
              </a:lnSpc>
              <a:spcBef>
                <a:spcPts val="100"/>
              </a:spcBef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400" dirty="0"/>
              <a:t>Ensure all sponsorship activities comply with relevant laws, regulations, and ethical standards.</a:t>
            </a:r>
          </a:p>
          <a:p>
            <a:pPr marL="285750" indent="-176213">
              <a:lnSpc>
                <a:spcPct val="100000"/>
              </a:lnSpc>
              <a:spcBef>
                <a:spcPts val="100"/>
              </a:spcBef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600" dirty="0"/>
              <a:t>Plan, organize, and oversee social events and activities that align with the nonprofit's mission.</a:t>
            </a:r>
          </a:p>
          <a:p>
            <a:pPr marL="285750" indent="-176213">
              <a:lnSpc>
                <a:spcPct val="100000"/>
              </a:lnSpc>
              <a:spcBef>
                <a:spcPts val="100"/>
              </a:spcBef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600" dirty="0"/>
              <a:t>Target Sponsorship amount 100K to 500K for 1</a:t>
            </a:r>
            <a:r>
              <a:rPr lang="en-US" sz="1600" baseline="30000" dirty="0"/>
              <a:t>st</a:t>
            </a:r>
            <a:r>
              <a:rPr lang="en-US" sz="1600" dirty="0"/>
              <a:t> year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285750" indent="-176213">
              <a:lnSpc>
                <a:spcPct val="100000"/>
              </a:lnSpc>
              <a:spcBef>
                <a:spcPts val="100"/>
              </a:spcBef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600" dirty="0"/>
              <a:t>Organize Decarbonization Congress at </a:t>
            </a:r>
            <a:r>
              <a:rPr lang="en-US" sz="1600" dirty="0" err="1"/>
              <a:t>UoH</a:t>
            </a:r>
            <a:r>
              <a:rPr lang="en-US" sz="1600" dirty="0"/>
              <a:t> (Feb 2025)</a:t>
            </a:r>
          </a:p>
          <a:p>
            <a:pPr marL="742950" lvl="1" indent="-28575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+mj-lt"/>
              <a:buAutoNum type="alphaLcPeriod"/>
            </a:pPr>
            <a:endParaRPr lang="en-US" sz="1100" kern="100" dirty="0"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32C0BEC-EC48-413F-A4EF-492452612218}"/>
              </a:ext>
            </a:extLst>
          </p:cNvPr>
          <p:cNvSpPr txBox="1"/>
          <p:nvPr/>
        </p:nvSpPr>
        <p:spPr>
          <a:xfrm>
            <a:off x="6011995" y="1627546"/>
            <a:ext cx="461665" cy="286674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vert="vert270" wrap="square" rtlCol="0">
            <a:spAutoFit/>
          </a:bodyPr>
          <a:lstStyle/>
          <a:p>
            <a:pPr algn="ctr"/>
            <a:r>
              <a:rPr lang="en-US" b="1" dirty="0"/>
              <a:t>Sponsorship Social Chair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E5FE5E26-6093-453A-A9A8-A871617845BE}"/>
              </a:ext>
            </a:extLst>
          </p:cNvPr>
          <p:cNvSpPr txBox="1">
            <a:spLocks/>
          </p:cNvSpPr>
          <p:nvPr/>
        </p:nvSpPr>
        <p:spPr>
          <a:xfrm>
            <a:off x="7356692" y="856880"/>
            <a:ext cx="2396908" cy="76714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None/>
            </a:pPr>
            <a:r>
              <a:rPr lang="en-US" sz="1400" dirty="0">
                <a:solidFill>
                  <a:srgbClr val="262626"/>
                </a:solidFill>
                <a:effectLst/>
              </a:rPr>
              <a:t>Jeannie Chung</a:t>
            </a:r>
          </a:p>
          <a:p>
            <a:pPr marL="0" indent="0" algn="ctr">
              <a:spcBef>
                <a:spcPts val="0"/>
              </a:spcBef>
              <a:buNone/>
            </a:pPr>
            <a:r>
              <a:rPr lang="en-US" sz="1400" b="1" dirty="0">
                <a:solidFill>
                  <a:srgbClr val="262626"/>
                </a:solidFill>
              </a:rPr>
              <a:t>Sponsorship Social Chair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30E1ECD1-409B-46F7-B16C-A29623117C2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79070" y="810863"/>
            <a:ext cx="815534" cy="8155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717640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48B6210-93B0-F7C4-86CD-D065286ED34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30767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48B6210-93B0-F7C4-86CD-D065286ED3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9256B7E-1633-44AB-8584-82DF5B7268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67492" y="381000"/>
            <a:ext cx="9779183" cy="829235"/>
          </a:xfrm>
        </p:spPr>
        <p:txBody>
          <a:bodyPr vert="horz"/>
          <a:lstStyle/>
          <a:p>
            <a:r>
              <a:rPr lang="en-US" dirty="0"/>
              <a:t>Agenda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EB64BEF-8367-144A-9F53-7A1282A3256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1000" y="6356350"/>
            <a:ext cx="2743200" cy="365125"/>
          </a:xfrm>
        </p:spPr>
        <p:txBody>
          <a:bodyPr/>
          <a:lstStyle/>
          <a:p>
            <a:fld id="{8DB9CAC9-854E-4324-9DF5-0287DE099D3E}" type="datetime1">
              <a:rPr lang="en-US" smtClean="0"/>
              <a:t>8/30/2024</a:t>
            </a:fld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FD448B0-743E-0045-8131-69B4EEC5836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153276" y="6356350"/>
            <a:ext cx="1657723" cy="365125"/>
          </a:xfrm>
        </p:spPr>
        <p:txBody>
          <a:bodyPr/>
          <a:lstStyle/>
          <a:p>
            <a:fld id="{294A09A9-5501-47C1-A89A-A340965A2BE2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0DF18C3A-DE09-4277-9AE6-6C572D1674B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7530" y="1397551"/>
            <a:ext cx="10978303" cy="4555014"/>
          </a:xfrm>
        </p:spPr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600" dirty="0"/>
              <a:t>Welcome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600" dirty="0"/>
              <a:t>Safety and DEI Moment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600" dirty="0"/>
              <a:t>Gulf Coast Section Overview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600" dirty="0"/>
              <a:t>Event Metrics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600" dirty="0"/>
              <a:t>Membership Update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600" dirty="0"/>
              <a:t>Thank you Sponsors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600" dirty="0"/>
              <a:t>Meet the Team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600" dirty="0"/>
              <a:t>2024-25 GCS Section Goals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600" dirty="0"/>
              <a:t>Scholarship Endowment Fund (SEF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600" dirty="0"/>
              <a:t>August Lookback and September Event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600" dirty="0"/>
              <a:t>Available Resources and Media Guid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2E33C80-08F6-F9D9-7AB2-396769EE4F4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85458" y="2215261"/>
            <a:ext cx="5091956" cy="2427477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2C9E7BC-D5AF-E414-DCA2-11EAEB6E488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PE-GCS KICK-OFF MEETING 2024-202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596158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48FEF140-ED1D-0DAD-B16F-7D154A8C82B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FEF140-ED1D-0DAD-B16F-7D154A8C82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DF7F9B8-A397-4E3C-BA7C-55F3162BC6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710" y="102485"/>
            <a:ext cx="9779183" cy="664399"/>
          </a:xfrm>
        </p:spPr>
        <p:txBody>
          <a:bodyPr vert="horz" anchor="t"/>
          <a:lstStyle/>
          <a:p>
            <a:r>
              <a:rPr lang="en-US" sz="4400" dirty="0"/>
              <a:t>Gulf Coast Section 2024-2025 Goal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6CEF3A0-AC1B-43D7-BA36-AF12DC27AF7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5072" y="2035852"/>
            <a:ext cx="5400928" cy="3791058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100"/>
              </a:spcBef>
              <a:buSzPts val="1000"/>
              <a:tabLst>
                <a:tab pos="457200" algn="l"/>
              </a:tabLst>
            </a:pPr>
            <a:r>
              <a:rPr lang="en-US" sz="1400" b="1" dirty="0"/>
              <a:t>2024 – 2025 SPE-GCS Energy Professional Hiring Events </a:t>
            </a:r>
          </a:p>
          <a:p>
            <a:pPr marL="285750" indent="-285750">
              <a:lnSpc>
                <a:spcPct val="100000"/>
              </a:lnSpc>
              <a:spcBef>
                <a:spcPts val="100"/>
              </a:spcBef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400" dirty="0"/>
              <a:t>Sept. 25, 2024, ATCE SPE Energy Professionals Hiring Event </a:t>
            </a:r>
          </a:p>
          <a:p>
            <a:pPr marL="742950" lvl="1" indent="-285750">
              <a:lnSpc>
                <a:spcPct val="100000"/>
              </a:lnSpc>
              <a:spcBef>
                <a:spcPts val="100"/>
              </a:spcBef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000" dirty="0"/>
              <a:t>New Orleans, LA</a:t>
            </a:r>
          </a:p>
          <a:p>
            <a:pPr marL="742950" lvl="1" indent="-285750">
              <a:lnSpc>
                <a:spcPct val="100000"/>
              </a:lnSpc>
              <a:spcBef>
                <a:spcPts val="100"/>
              </a:spcBef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000" dirty="0"/>
              <a:t>ATCE attendees only</a:t>
            </a:r>
          </a:p>
          <a:p>
            <a:pPr marL="285750" indent="-285750">
              <a:lnSpc>
                <a:spcPct val="100000"/>
              </a:lnSpc>
              <a:spcBef>
                <a:spcPts val="100"/>
              </a:spcBef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400" b="1" dirty="0">
                <a:solidFill>
                  <a:schemeClr val="accent1">
                    <a:lumMod val="75000"/>
                  </a:schemeClr>
                </a:solidFill>
              </a:rPr>
              <a:t>Oct. 10, 2024, CAN Energy Professionals Hiring Event</a:t>
            </a:r>
          </a:p>
          <a:p>
            <a:pPr marL="742950" lvl="1" indent="-285750">
              <a:lnSpc>
                <a:spcPct val="100000"/>
              </a:lnSpc>
              <a:spcBef>
                <a:spcPts val="100"/>
              </a:spcBef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000" dirty="0"/>
              <a:t>Houston, TX - Trini Mendenhall Community Center</a:t>
            </a:r>
          </a:p>
          <a:p>
            <a:pPr marL="742950" lvl="1" indent="-285750">
              <a:lnSpc>
                <a:spcPct val="100000"/>
              </a:lnSpc>
              <a:spcBef>
                <a:spcPts val="100"/>
              </a:spcBef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000" dirty="0"/>
              <a:t>Open to all experienced Job Seekers</a:t>
            </a:r>
          </a:p>
          <a:p>
            <a:pPr marL="285750" indent="-285750">
              <a:lnSpc>
                <a:spcPct val="100000"/>
              </a:lnSpc>
              <a:spcBef>
                <a:spcPts val="100"/>
              </a:spcBef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400" b="1" dirty="0">
                <a:solidFill>
                  <a:schemeClr val="accent1">
                    <a:lumMod val="75000"/>
                  </a:schemeClr>
                </a:solidFill>
              </a:rPr>
              <a:t>Spring 2025, OTC CAN Energy Professionals Hiring Event</a:t>
            </a:r>
          </a:p>
          <a:p>
            <a:pPr marL="742950" lvl="1" indent="-285750">
              <a:lnSpc>
                <a:spcPct val="100000"/>
              </a:lnSpc>
              <a:spcBef>
                <a:spcPts val="100"/>
              </a:spcBef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000" dirty="0"/>
              <a:t>Houston, TX – NRG Park</a:t>
            </a:r>
          </a:p>
          <a:p>
            <a:pPr marL="742950" lvl="1" indent="-285750">
              <a:lnSpc>
                <a:spcPct val="100000"/>
              </a:lnSpc>
              <a:spcBef>
                <a:spcPts val="100"/>
              </a:spcBef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000" dirty="0"/>
              <a:t>Open to all experienced Job Seekers</a:t>
            </a:r>
          </a:p>
          <a:p>
            <a:pPr marL="742950" lvl="1" indent="-285750">
              <a:lnSpc>
                <a:spcPct val="100000"/>
              </a:lnSpc>
              <a:spcBef>
                <a:spcPts val="100"/>
              </a:spcBef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endParaRPr lang="en-US" sz="1000" dirty="0"/>
          </a:p>
          <a:p>
            <a:pPr>
              <a:lnSpc>
                <a:spcPct val="100000"/>
              </a:lnSpc>
              <a:spcBef>
                <a:spcPts val="100"/>
              </a:spcBef>
              <a:buSzPts val="1000"/>
              <a:tabLst>
                <a:tab pos="457200" algn="l"/>
              </a:tabLst>
            </a:pPr>
            <a:r>
              <a:rPr lang="en-US" sz="1400" b="1" dirty="0"/>
              <a:t>2024 – 2025 Committee Goals</a:t>
            </a:r>
          </a:p>
          <a:p>
            <a:pPr marL="176213" indent="-176213">
              <a:lnSpc>
                <a:spcPct val="100000"/>
              </a:lnSpc>
              <a:spcBef>
                <a:spcPts val="100"/>
              </a:spcBef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400" dirty="0"/>
              <a:t>Lead and support ongoing career help sessions</a:t>
            </a:r>
          </a:p>
          <a:p>
            <a:pPr marL="176213" indent="-176213">
              <a:lnSpc>
                <a:spcPct val="100000"/>
              </a:lnSpc>
              <a:spcBef>
                <a:spcPts val="100"/>
              </a:spcBef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400" dirty="0"/>
              <a:t>Expand diversity in Employer positions</a:t>
            </a:r>
          </a:p>
          <a:p>
            <a:pPr marL="176213" indent="-176213">
              <a:lnSpc>
                <a:spcPct val="100000"/>
              </a:lnSpc>
              <a:spcBef>
                <a:spcPts val="100"/>
              </a:spcBef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400" dirty="0"/>
              <a:t>Boost Employer participation</a:t>
            </a:r>
          </a:p>
          <a:p>
            <a:pPr marL="176213" indent="-176213">
              <a:lnSpc>
                <a:spcPct val="100000"/>
              </a:lnSpc>
              <a:spcBef>
                <a:spcPts val="100"/>
              </a:spcBef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400" dirty="0"/>
              <a:t>Increase cross-committee &amp; Study Group awareness and support</a:t>
            </a:r>
          </a:p>
          <a:p>
            <a:pPr marL="176213" indent="-176213">
              <a:lnSpc>
                <a:spcPct val="100000"/>
              </a:lnSpc>
              <a:spcBef>
                <a:spcPts val="100"/>
              </a:spcBef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400" dirty="0"/>
              <a:t>Promote greater volunteer agility in event planning </a:t>
            </a:r>
          </a:p>
          <a:p>
            <a:pPr marL="176213" indent="-176213">
              <a:lnSpc>
                <a:spcPct val="100000"/>
              </a:lnSpc>
              <a:spcBef>
                <a:spcPts val="100"/>
              </a:spcBef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400" dirty="0"/>
              <a:t>Foster collaboration opportunities with other committees 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E45D47-D700-4E86-A624-4C213C244BA8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8A7D12DF-8EA6-417D-A7B7-66E621C9D4C4}" type="datetime1">
              <a:rPr lang="en-US" smtClean="0"/>
              <a:t>8/30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4F4EDF6-E89A-4840-951E-333610902C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PE-GCS KICK-OFF MEETING 2024-2025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B002AEB-FCC1-4F1C-88C1-9998152CB20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32C0BEC-EC48-413F-A4EF-492452612218}"/>
              </a:ext>
            </a:extLst>
          </p:cNvPr>
          <p:cNvSpPr txBox="1"/>
          <p:nvPr/>
        </p:nvSpPr>
        <p:spPr>
          <a:xfrm>
            <a:off x="119022" y="1409419"/>
            <a:ext cx="461665" cy="389969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vert="vert270" wrap="square" rtlCol="0">
            <a:spAutoFit/>
          </a:bodyPr>
          <a:lstStyle/>
          <a:p>
            <a:pPr algn="ctr"/>
            <a:r>
              <a:rPr lang="en-US" b="1" dirty="0"/>
              <a:t>CAN – Career Advancement Network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E5FE5E26-6093-453A-A9A8-A871617845BE}"/>
              </a:ext>
            </a:extLst>
          </p:cNvPr>
          <p:cNvSpPr txBox="1">
            <a:spLocks/>
          </p:cNvSpPr>
          <p:nvPr/>
        </p:nvSpPr>
        <p:spPr>
          <a:xfrm>
            <a:off x="1386197" y="852603"/>
            <a:ext cx="2019513" cy="76714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None/>
            </a:pPr>
            <a:r>
              <a:rPr lang="en-US" sz="1400" dirty="0">
                <a:solidFill>
                  <a:srgbClr val="262626"/>
                </a:solidFill>
                <a:effectLst/>
              </a:rPr>
              <a:t>Jamie S. Marzonie</a:t>
            </a:r>
          </a:p>
          <a:p>
            <a:pPr marL="0" indent="0" algn="ctr">
              <a:spcBef>
                <a:spcPts val="0"/>
              </a:spcBef>
              <a:buNone/>
            </a:pPr>
            <a:r>
              <a:rPr lang="en-US" sz="1400" b="1" dirty="0">
                <a:solidFill>
                  <a:srgbClr val="262626"/>
                </a:solidFill>
              </a:rPr>
              <a:t>Career Advancement Network (CAN) Chair</a:t>
            </a:r>
          </a:p>
          <a:p>
            <a:pPr marL="0" indent="0" algn="ctr">
              <a:spcBef>
                <a:spcPts val="0"/>
              </a:spcBef>
              <a:buNone/>
            </a:pPr>
            <a:r>
              <a:rPr lang="en-US" sz="1200" dirty="0">
                <a:solidFill>
                  <a:srgbClr val="262626"/>
                </a:solidFill>
                <a:effectLst/>
              </a:rPr>
              <a:t>Integrated Project Service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B892C04-BF71-E566-D5E2-54F9F0744A15}"/>
              </a:ext>
            </a:extLst>
          </p:cNvPr>
          <p:cNvSpPr txBox="1"/>
          <p:nvPr/>
        </p:nvSpPr>
        <p:spPr>
          <a:xfrm>
            <a:off x="4579616" y="911860"/>
            <a:ext cx="1999482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dirty="0"/>
              <a:t>Jennifer Calderín</a:t>
            </a:r>
          </a:p>
          <a:p>
            <a:pPr algn="ctr"/>
            <a:r>
              <a:rPr lang="en-US" sz="1400" b="1" dirty="0">
                <a:ea typeface="Calibri" panose="020F0502020204030204" pitchFamily="34" charset="0"/>
              </a:rPr>
              <a:t>CAN Hiring Event </a:t>
            </a:r>
            <a:r>
              <a:rPr lang="en-US" sz="1400" b="1" dirty="0">
                <a:effectLst/>
                <a:ea typeface="Calibri" panose="020F0502020204030204" pitchFamily="34" charset="0"/>
              </a:rPr>
              <a:t>Chair</a:t>
            </a:r>
          </a:p>
          <a:p>
            <a:pPr algn="ctr"/>
            <a:r>
              <a:rPr lang="en-US" sz="1200" dirty="0"/>
              <a:t>WSP Underground Storage</a:t>
            </a:r>
            <a:endParaRPr lang="en-GB" sz="1200" dirty="0"/>
          </a:p>
        </p:txBody>
      </p:sp>
      <p:pic>
        <p:nvPicPr>
          <p:cNvPr id="1026" name="Picture 2" descr="profile image">
            <a:extLst>
              <a:ext uri="{FF2B5EF4-FFF2-40B4-BE49-F238E27FC236}">
                <a16:creationId xmlns:a16="http://schemas.microsoft.com/office/drawing/2014/main" id="{2B11F0A1-0F4D-0D01-1DCB-F9407A70F2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710" y="875391"/>
            <a:ext cx="788242" cy="788242"/>
          </a:xfrm>
          <a:prstGeom prst="ellipse">
            <a:avLst/>
          </a:prstGeom>
          <a:ln w="3175" cap="rnd">
            <a:solidFill>
              <a:srgbClr val="333333"/>
            </a:solidFill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Jennifer Calderin BSc, PMP, EIT">
            <a:extLst>
              <a:ext uri="{FF2B5EF4-FFF2-40B4-BE49-F238E27FC236}">
                <a16:creationId xmlns:a16="http://schemas.microsoft.com/office/drawing/2014/main" id="{EFE1802E-140C-9CBE-ED3F-8C4B86D565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54075" y="875391"/>
            <a:ext cx="788243" cy="788243"/>
          </a:xfrm>
          <a:prstGeom prst="ellipse">
            <a:avLst/>
          </a:prstGeom>
          <a:ln w="3175" cap="rnd">
            <a:solidFill>
              <a:srgbClr val="0070C0"/>
            </a:solidFill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 descr="A group of men at a trade show&#10;&#10;Description automatically generated">
            <a:extLst>
              <a:ext uri="{FF2B5EF4-FFF2-40B4-BE49-F238E27FC236}">
                <a16:creationId xmlns:a16="http://schemas.microsoft.com/office/drawing/2014/main" id="{DDAF0CE6-623E-E32F-CDB8-6E208BC812C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306164" y="1702042"/>
            <a:ext cx="2682240" cy="201168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6" name="Picture 15" descr="A group of people in a room&#10;&#10;Description automatically generated">
            <a:extLst>
              <a:ext uri="{FF2B5EF4-FFF2-40B4-BE49-F238E27FC236}">
                <a16:creationId xmlns:a16="http://schemas.microsoft.com/office/drawing/2014/main" id="{B8F13918-24AC-AF07-A2CC-413246A2E14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170734" y="2483854"/>
            <a:ext cx="2009394" cy="267919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8" name="Picture 17" descr="A group of people in a room&#10;&#10;Description automatically generated">
            <a:extLst>
              <a:ext uri="{FF2B5EF4-FFF2-40B4-BE49-F238E27FC236}">
                <a16:creationId xmlns:a16="http://schemas.microsoft.com/office/drawing/2014/main" id="{37926D4C-80EC-D3B1-ABFB-9BE59E00929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306164" y="3920052"/>
            <a:ext cx="2682240" cy="201168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46028861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6777847A-4E69-9087-DCCC-C824393BEA79}"/>
              </a:ext>
            </a:extLst>
          </p:cNvPr>
          <p:cNvSpPr/>
          <p:nvPr/>
        </p:nvSpPr>
        <p:spPr>
          <a:xfrm>
            <a:off x="8371996" y="2157492"/>
            <a:ext cx="2869933" cy="373372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algn="ctr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FAC9202E-A244-C587-28EA-2FED76082D74}"/>
              </a:ext>
            </a:extLst>
          </p:cNvPr>
          <p:cNvSpPr txBox="1"/>
          <p:nvPr/>
        </p:nvSpPr>
        <p:spPr>
          <a:xfrm>
            <a:off x="8371996" y="3441214"/>
            <a:ext cx="2869932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6213" marR="0" indent="-176213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Engage study groups to make sure the website is fresh, functional, and responsive to their needs.</a:t>
            </a:r>
          </a:p>
          <a:p>
            <a:pPr marL="176213" marR="0" indent="-176213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Provide study groups and committees updates on ongoing website build-out.</a:t>
            </a:r>
          </a:p>
          <a:p>
            <a:pPr marL="176213" marR="0" indent="-176213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Identify new or improved functionality for the website.</a:t>
            </a: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D8927668-74EE-D6F5-33E1-28E23BEF17E6}"/>
              </a:ext>
            </a:extLst>
          </p:cNvPr>
          <p:cNvSpPr/>
          <p:nvPr/>
        </p:nvSpPr>
        <p:spPr>
          <a:xfrm>
            <a:off x="4659750" y="2157492"/>
            <a:ext cx="2871217" cy="374593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algn="ctr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77AB7D6-43F5-7768-C910-BCCF628AE617}"/>
              </a:ext>
            </a:extLst>
          </p:cNvPr>
          <p:cNvSpPr txBox="1"/>
          <p:nvPr/>
        </p:nvSpPr>
        <p:spPr>
          <a:xfrm>
            <a:off x="4661034" y="3441214"/>
            <a:ext cx="2869932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6213" marR="0" indent="-176213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Engage study groups and committees to better promote their events.</a:t>
            </a:r>
          </a:p>
          <a:p>
            <a:pPr marL="176213" marR="0" indent="-176213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Better communicate with study groups about available platforms and mediums including email blasts, LinkedIn, and Instagram.</a:t>
            </a:r>
          </a:p>
          <a:p>
            <a:pPr marL="176213" marR="0" indent="-176213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Identify new ways to promote events outside of existing platforms.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FE272F7A-2E45-A993-F700-BF93226B567A}"/>
              </a:ext>
            </a:extLst>
          </p:cNvPr>
          <p:cNvSpPr/>
          <p:nvPr/>
        </p:nvSpPr>
        <p:spPr>
          <a:xfrm>
            <a:off x="950071" y="2145278"/>
            <a:ext cx="2869933" cy="375814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algn="ctr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DF7F9B8-A397-4E3C-BA7C-55F3162BC6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710" y="102485"/>
            <a:ext cx="9779183" cy="664399"/>
          </a:xfrm>
        </p:spPr>
        <p:txBody>
          <a:bodyPr anchor="t"/>
          <a:lstStyle/>
          <a:p>
            <a:r>
              <a:rPr lang="en-US" sz="4400" dirty="0"/>
              <a:t>Gulf Coast Section 2023-2024 Goal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4F4EDF6-E89A-4840-951E-333610902C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PE-GCS KICK-OFF MEETING 2024-2025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B002AEB-FCC1-4F1C-88C1-9998152CB20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21</a:t>
            </a:fld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32C0BEC-EC48-413F-A4EF-492452612218}"/>
              </a:ext>
            </a:extLst>
          </p:cNvPr>
          <p:cNvSpPr txBox="1"/>
          <p:nvPr/>
        </p:nvSpPr>
        <p:spPr>
          <a:xfrm>
            <a:off x="-7637" y="0"/>
            <a:ext cx="461665" cy="229753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vert="vert270" wrap="square" rtlCol="0">
            <a:spAutoFit/>
          </a:bodyPr>
          <a:lstStyle/>
          <a:p>
            <a:pPr algn="ctr"/>
            <a:r>
              <a:rPr lang="en-US" b="1" dirty="0"/>
              <a:t>Communications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C434B94E-A91D-4527-A0B7-9A44C1615A19}"/>
              </a:ext>
            </a:extLst>
          </p:cNvPr>
          <p:cNvSpPr txBox="1">
            <a:spLocks/>
          </p:cNvSpPr>
          <p:nvPr/>
        </p:nvSpPr>
        <p:spPr>
          <a:xfrm>
            <a:off x="1721336" y="1047465"/>
            <a:ext cx="2059493" cy="53608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n-US" sz="1400" b="1" dirty="0">
                <a:effectLst/>
                <a:ea typeface="Calibri" panose="020F0502020204030204" pitchFamily="34" charset="0"/>
              </a:rPr>
              <a:t>Thomas Shattuck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b="1" dirty="0">
                <a:effectLst/>
                <a:ea typeface="Calibri" panose="020F0502020204030204" pitchFamily="34" charset="0"/>
              </a:rPr>
              <a:t>Communications Chair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200" dirty="0">
                <a:ea typeface="Calibri" panose="020F0502020204030204" pitchFamily="34" charset="0"/>
              </a:rPr>
              <a:t>Clifford Chance</a:t>
            </a:r>
            <a:endParaRPr lang="en-US" sz="1200" dirty="0">
              <a:effectLst/>
              <a:ea typeface="Calibri" panose="020F0502020204030204" pitchFamily="34" charset="0"/>
            </a:endParaRPr>
          </a:p>
        </p:txBody>
      </p:sp>
      <p:sp>
        <p:nvSpPr>
          <p:cNvPr id="7" name="AutoShape 2" descr="Araujo, Mariela G GSUSI-PTX/I/C">
            <a:extLst>
              <a:ext uri="{FF2B5EF4-FFF2-40B4-BE49-F238E27FC236}">
                <a16:creationId xmlns:a16="http://schemas.microsoft.com/office/drawing/2014/main" id="{AC835980-423B-504A-57FD-F0EDBCC99671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240AFB97-5C0F-76B4-4A42-271A4FF87660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1724" b="1724"/>
          <a:stretch/>
        </p:blipFill>
        <p:spPr>
          <a:xfrm>
            <a:off x="910896" y="1012749"/>
            <a:ext cx="810440" cy="782494"/>
          </a:xfrm>
          <a:prstGeom prst="ellipse">
            <a:avLst/>
          </a:prstGeom>
          <a:ln w="63500" cap="rnd">
            <a:noFill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FB7CADED-1BD5-F94E-254A-9B131EF3E85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61829" y="1025642"/>
            <a:ext cx="773690" cy="747302"/>
          </a:xfrm>
          <a:prstGeom prst="ellipse">
            <a:avLst/>
          </a:prstGeom>
          <a:ln w="63500" cap="rnd">
            <a:noFill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20" name="Subtitle 2">
            <a:extLst>
              <a:ext uri="{FF2B5EF4-FFF2-40B4-BE49-F238E27FC236}">
                <a16:creationId xmlns:a16="http://schemas.microsoft.com/office/drawing/2014/main" id="{BDD0DD0A-09EE-17D6-8F43-4ABB6265A360}"/>
              </a:ext>
            </a:extLst>
          </p:cNvPr>
          <p:cNvSpPr txBox="1">
            <a:spLocks/>
          </p:cNvSpPr>
          <p:nvPr/>
        </p:nvSpPr>
        <p:spPr>
          <a:xfrm>
            <a:off x="5000873" y="1053502"/>
            <a:ext cx="2530093" cy="7435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n-US" sz="1400" b="1" dirty="0">
                <a:effectLst/>
                <a:ea typeface="Calibri" panose="020F0502020204030204" pitchFamily="34" charset="0"/>
              </a:rPr>
              <a:t>Taylor Butler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 b="1" dirty="0">
                <a:effectLst/>
                <a:ea typeface="Calibri" panose="020F0502020204030204" pitchFamily="34" charset="0"/>
              </a:rPr>
              <a:t>Communications Vice Chair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200" dirty="0">
                <a:ea typeface="Calibri" panose="020F0502020204030204" pitchFamily="34" charset="0"/>
              </a:rPr>
              <a:t>Sabine Oil</a:t>
            </a:r>
            <a:endParaRPr lang="en-US" sz="1200" dirty="0">
              <a:effectLst/>
              <a:ea typeface="Calibri" panose="020F0502020204030204" pitchFamily="34" charset="0"/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DF615086-79C2-950F-E7E0-69FDBE954B89}"/>
              </a:ext>
            </a:extLst>
          </p:cNvPr>
          <p:cNvSpPr/>
          <p:nvPr/>
        </p:nvSpPr>
        <p:spPr>
          <a:xfrm>
            <a:off x="950071" y="2145278"/>
            <a:ext cx="2869933" cy="1160890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ocial Media Engagement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79EC682F-B193-296A-78D1-BEEC5294B82B}"/>
              </a:ext>
            </a:extLst>
          </p:cNvPr>
          <p:cNvSpPr/>
          <p:nvPr/>
        </p:nvSpPr>
        <p:spPr>
          <a:xfrm>
            <a:off x="4661033" y="2157492"/>
            <a:ext cx="2869933" cy="1160890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vent Promotion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3D3A3492-857D-1224-7CC5-7EC5BC01DD91}"/>
              </a:ext>
            </a:extLst>
          </p:cNvPr>
          <p:cNvSpPr/>
          <p:nvPr/>
        </p:nvSpPr>
        <p:spPr>
          <a:xfrm>
            <a:off x="8371354" y="2145278"/>
            <a:ext cx="2871216" cy="1160890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Website Improvement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99B914B-769F-F9CA-58EE-A23B134CA1D7}"/>
              </a:ext>
            </a:extLst>
          </p:cNvPr>
          <p:cNvSpPr txBox="1"/>
          <p:nvPr/>
        </p:nvSpPr>
        <p:spPr>
          <a:xfrm>
            <a:off x="950071" y="3429000"/>
            <a:ext cx="2869932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6213" marR="0" indent="-176213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Focus on increasing social media engagement through regularly posting on LinkedIn and Instagram.</a:t>
            </a:r>
          </a:p>
          <a:p>
            <a:pPr marL="176213" marR="0" indent="-176213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Work to continue establishing and publicizing "Quizzing the Oilfield".</a:t>
            </a:r>
          </a:p>
          <a:p>
            <a:pPr marL="176213" marR="0" indent="-176213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Identify new opportunities for social media platforms and posts.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AFDE981-6089-FDEA-9DDA-E15A51693D77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FE8808FE-C0A1-45B1-9A97-DEF0DBD283FD}" type="datetime1">
              <a:rPr lang="en-US" smtClean="0"/>
              <a:t>8/30/20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103581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250D7B-281A-5B88-C22D-DE27EB32593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67493" y="1059400"/>
            <a:ext cx="7753870" cy="2387600"/>
          </a:xfrm>
        </p:spPr>
        <p:txBody>
          <a:bodyPr/>
          <a:lstStyle/>
          <a:p>
            <a:r>
              <a:rPr lang="en-US" sz="4800" dirty="0"/>
              <a:t>Communications, Advertising and </a:t>
            </a:r>
            <a:br>
              <a:rPr lang="en-US" sz="4800" dirty="0"/>
            </a:br>
            <a:r>
              <a:rPr lang="en-US" sz="4800" dirty="0"/>
              <a:t>Event Promotio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66CABF8-6894-61DE-9F31-6351B6E9C05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sz="2800" dirty="0"/>
              <a:t>Thomas Shattuck and Taylor Butler</a:t>
            </a:r>
          </a:p>
          <a:p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51872819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1AE64982-8E70-00CD-DFF9-D627A662C5D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34579356"/>
              </p:ext>
            </p:extLst>
          </p:nvPr>
        </p:nvGraphicFramePr>
        <p:xfrm>
          <a:off x="610818" y="2374110"/>
          <a:ext cx="9844965" cy="38649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070553">
                  <a:extLst>
                    <a:ext uri="{9D8B030D-6E8A-4147-A177-3AD203B41FA5}">
                      <a16:colId xmlns:a16="http://schemas.microsoft.com/office/drawing/2014/main" val="2529331785"/>
                    </a:ext>
                  </a:extLst>
                </a:gridCol>
                <a:gridCol w="3063396">
                  <a:extLst>
                    <a:ext uri="{9D8B030D-6E8A-4147-A177-3AD203B41FA5}">
                      <a16:colId xmlns:a16="http://schemas.microsoft.com/office/drawing/2014/main" val="2689844745"/>
                    </a:ext>
                  </a:extLst>
                </a:gridCol>
                <a:gridCol w="1381473">
                  <a:extLst>
                    <a:ext uri="{9D8B030D-6E8A-4147-A177-3AD203B41FA5}">
                      <a16:colId xmlns:a16="http://schemas.microsoft.com/office/drawing/2014/main" val="1801682716"/>
                    </a:ext>
                  </a:extLst>
                </a:gridCol>
                <a:gridCol w="1844702">
                  <a:extLst>
                    <a:ext uri="{9D8B030D-6E8A-4147-A177-3AD203B41FA5}">
                      <a16:colId xmlns:a16="http://schemas.microsoft.com/office/drawing/2014/main" val="2538176506"/>
                    </a:ext>
                  </a:extLst>
                </a:gridCol>
                <a:gridCol w="2484841">
                  <a:extLst>
                    <a:ext uri="{9D8B030D-6E8A-4147-A177-3AD203B41FA5}">
                      <a16:colId xmlns:a16="http://schemas.microsoft.com/office/drawing/2014/main" val="3398096729"/>
                    </a:ext>
                  </a:extLst>
                </a:gridCol>
              </a:tblGrid>
              <a:tr h="142978"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6" marR="6126" marT="6126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bmission Contact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6" marR="6126" marT="6126" marB="0" anchor="ctr">
                    <a:lnL w="12700" cmpd="sng">
                      <a:noFill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sting Frequency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6" marR="6126" marT="6126" marB="0"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bmission </a:t>
                      </a:r>
                    </a:p>
                    <a:p>
                      <a:pPr algn="ctr" fontAlgn="ctr"/>
                      <a:r>
                        <a:rPr lang="en-US" sz="1400" b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adline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6" marR="6126" marT="6126" marB="0"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bmission </a:t>
                      </a:r>
                    </a:p>
                    <a:p>
                      <a:pPr algn="ctr" fontAlgn="ctr"/>
                      <a:r>
                        <a:rPr lang="en-US" sz="1400" b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tails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6" marR="6126" marT="6126" marB="0"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516834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eekly </a:t>
                      </a:r>
                    </a:p>
                    <a:p>
                      <a:pPr algn="ctr" fontAlgn="ctr"/>
                      <a:r>
                        <a:rPr lang="en-US" sz="14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mail Blast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6" marR="6126" marT="6126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ndsey Newsome</a:t>
                      </a:r>
                      <a:br>
                        <a:rPr lang="da-DK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da-DK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</a:t>
                      </a:r>
                      <a:r>
                        <a:rPr lang="da-DK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  <a:hlinkClick r:id="rId2"/>
                        </a:rPr>
                        <a:t>webmaster@spegcs.org</a:t>
                      </a:r>
                      <a:r>
                        <a:rPr lang="da-DK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lang="da-DK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6" marR="6126" marT="6126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eekly on Monday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6" marR="6126" marT="6126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 week prior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6" marR="6126" marT="6126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vent Description</a:t>
                      </a:r>
                    </a:p>
                    <a:p>
                      <a:pPr marL="285750" indent="-2857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me/Place</a:t>
                      </a:r>
                    </a:p>
                    <a:p>
                      <a:pPr marL="285750" indent="-2857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gistration Link</a:t>
                      </a:r>
                    </a:p>
                    <a:p>
                      <a:pPr marL="285750" indent="-2857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lyer/Graphic</a:t>
                      </a:r>
                    </a:p>
                    <a:p>
                      <a:pPr marL="285750" indent="-2857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ponsor</a:t>
                      </a:r>
                      <a:endParaRPr lang="en-US" sz="140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6" marR="6126" marT="6126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040977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mail Blast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6" marR="6126" marT="6126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ndsey Newsome</a:t>
                      </a:r>
                      <a:br>
                        <a:rPr lang="da-DK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da-DK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</a:t>
                      </a:r>
                      <a:r>
                        <a:rPr lang="da-DK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  <a:hlinkClick r:id="rId2"/>
                        </a:rPr>
                        <a:t>webmaster@spegcs.org</a:t>
                      </a:r>
                      <a:r>
                        <a:rPr lang="da-DK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lang="da-DK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6" marR="6126" marT="6126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s Requested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6" marR="6126" marT="6126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 week prior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6" marR="6126" marT="6126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vent Description</a:t>
                      </a:r>
                    </a:p>
                    <a:p>
                      <a:pPr marL="285750" marR="0" lvl="0" indent="-2857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ime/Place</a:t>
                      </a:r>
                    </a:p>
                    <a:p>
                      <a:pPr marL="285750" marR="0" lvl="0" indent="-2857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gistration Link</a:t>
                      </a:r>
                    </a:p>
                    <a:p>
                      <a:pPr marL="285750" marR="0" lvl="0" indent="-2857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Flyer/Graphic</a:t>
                      </a:r>
                    </a:p>
                    <a:p>
                      <a:pPr marL="285750" marR="0" lvl="0" indent="-2857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ponsor</a:t>
                      </a:r>
                    </a:p>
                  </a:txBody>
                  <a:tcPr marL="6126" marR="6126" marT="6126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352813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ocial Media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6" marR="6126" marT="6126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nie Shen &amp; Pranav Mutt</a:t>
                      </a:r>
                      <a:br>
                        <a:rPr lang="pt-BR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pt-BR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</a:t>
                      </a:r>
                      <a:r>
                        <a:rPr lang="pt-BR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  <a:hlinkClick r:id="rId3"/>
                        </a:rPr>
                        <a:t>communications.spegcs@gmail.com</a:t>
                      </a:r>
                      <a:r>
                        <a:rPr lang="pt-BR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</a:p>
                    <a:p>
                      <a:pPr algn="ctr" fontAlgn="ctr"/>
                      <a:r>
                        <a:rPr lang="pt-B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C: Debora and Thomas</a:t>
                      </a:r>
                    </a:p>
                  </a:txBody>
                  <a:tcPr marL="6126" marR="6126" marT="6126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s Requested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6" marR="6126" marT="6126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 week prior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126" marR="6126" marT="6126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vent Description</a:t>
                      </a:r>
                    </a:p>
                    <a:p>
                      <a:pPr marL="285750" marR="0" lvl="0" indent="-2857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ime/Place</a:t>
                      </a:r>
                    </a:p>
                    <a:p>
                      <a:pPr marL="285750" marR="0" lvl="0" indent="-2857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gistration Link</a:t>
                      </a:r>
                    </a:p>
                    <a:p>
                      <a:pPr marL="285750" marR="0" lvl="0" indent="-2857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Flyer/Graphic</a:t>
                      </a:r>
                    </a:p>
                    <a:p>
                      <a:pPr marL="285750" marR="0" lvl="0" indent="-2857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ponsor</a:t>
                      </a:r>
                    </a:p>
                    <a:p>
                      <a:pPr marL="285750" marR="0" lvl="0" indent="-2857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ags</a:t>
                      </a:r>
                    </a:p>
                  </a:txBody>
                  <a:tcPr marL="6126" marR="6126" marT="6126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730621"/>
                  </a:ext>
                </a:extLst>
              </a:tr>
            </a:tbl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22F44BB-76F2-532B-5A76-5D812978C3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710" y="102485"/>
            <a:ext cx="9779183" cy="664399"/>
          </a:xfrm>
        </p:spPr>
        <p:txBody>
          <a:bodyPr anchor="t"/>
          <a:lstStyle/>
          <a:p>
            <a:r>
              <a:rPr lang="en-US" sz="4400" dirty="0"/>
              <a:t>Who to Contact to Promote Your Even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0D8A1E0-1FD2-8BEB-186B-5257184567FF}"/>
              </a:ext>
            </a:extLst>
          </p:cNvPr>
          <p:cNvSpPr txBox="1"/>
          <p:nvPr/>
        </p:nvSpPr>
        <p:spPr>
          <a:xfrm>
            <a:off x="643710" y="970332"/>
            <a:ext cx="9844965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 fontAlgn="b"/>
            <a:r>
              <a:rPr lang="en-US" sz="1800" u="none" strike="noStrike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General Communications Inquiries: Thomas Shattuck (</a:t>
            </a:r>
            <a:r>
              <a:rPr lang="en-US" sz="1800" u="none" strike="noStrike" dirty="0">
                <a:effectLst/>
                <a:latin typeface="Arial" panose="020B0604020202020204" pitchFamily="34" charset="0"/>
                <a:cs typeface="Arial" panose="020B0604020202020204" pitchFamily="34" charset="0"/>
                <a:hlinkClick r:id="rId4"/>
              </a:rPr>
              <a:t>thomas.shattuck@cliffordchance.com</a:t>
            </a:r>
            <a:r>
              <a:rPr lang="en-US" sz="1800" u="none" strike="noStrike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defTabSz="914400" fontAlgn="b"/>
            <a:r>
              <a:rPr lang="en-US" b="0" i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			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ylor Butler (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hlinkClick r:id="rId5"/>
              </a:rPr>
              <a:t>tbutler@sabineoil.com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</a:p>
          <a:p>
            <a:pPr fontAlgn="b"/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Website Inquiries: 		</a:t>
            </a:r>
            <a:r>
              <a:rPr lang="da-DK" sz="1800" u="none" strike="noStrike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Lindsey Newsome (</a:t>
            </a:r>
            <a:r>
              <a:rPr lang="da-DK" sz="1800" u="none" strike="noStrike" dirty="0">
                <a:effectLst/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webmaster@spegcs.org</a:t>
            </a:r>
            <a:r>
              <a:rPr lang="da-DK" sz="1800" u="none" strike="noStrike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defTabSz="914400" fontAlgn="b"/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Social Media: 			Annie Shen (</a:t>
            </a: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communications.spegcs@gmail.com</a:t>
            </a: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endParaRPr lang="da-DK" sz="1800" b="0" i="0" u="none" strike="noStrike" dirty="0">
              <a:solidFill>
                <a:srgbClr val="000000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6011DE7-C749-9F6D-680B-3376A10E3075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EED7D91B-6A33-4E35-B30B-C26E670B631F}" type="datetime1">
              <a:rPr lang="en-US" smtClean="0"/>
              <a:t>8/30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83C61A-F72A-6A8F-2956-A4C2ABBA95B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PE-GCS KICK-OFF MEETING 2024-2025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FD4E77-3CE6-13AE-1C60-43F5996803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279154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F87B27EE-4C1F-180C-3192-E9ED8D3863E4}"/>
              </a:ext>
            </a:extLst>
          </p:cNvPr>
          <p:cNvGrpSpPr/>
          <p:nvPr/>
        </p:nvGrpSpPr>
        <p:grpSpPr>
          <a:xfrm>
            <a:off x="785476" y="1069034"/>
            <a:ext cx="3110663" cy="5337006"/>
            <a:chOff x="180294" y="228600"/>
            <a:chExt cx="3110663" cy="5337006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CCC1C03F-0E64-85E6-6C5A-F373B9E9A18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867"/>
            <a:stretch/>
          </p:blipFill>
          <p:spPr>
            <a:xfrm>
              <a:off x="283660" y="228600"/>
              <a:ext cx="2903930" cy="794261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98AC4B84-E5E8-D231-C4AF-5199F6F51B0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1731"/>
            <a:stretch/>
          </p:blipFill>
          <p:spPr>
            <a:xfrm>
              <a:off x="180294" y="1056233"/>
              <a:ext cx="3110663" cy="4509373"/>
            </a:xfrm>
            <a:prstGeom prst="rect">
              <a:avLst/>
            </a:prstGeom>
          </p:spPr>
        </p:pic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940F8C5B-DCA3-34D7-A9BB-4EAC96CF8AF4}"/>
              </a:ext>
            </a:extLst>
          </p:cNvPr>
          <p:cNvSpPr txBox="1"/>
          <p:nvPr/>
        </p:nvSpPr>
        <p:spPr>
          <a:xfrm>
            <a:off x="4126444" y="1069034"/>
            <a:ext cx="6941772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285750" indent="-285750" algn="just">
              <a:buFont typeface="Arial" panose="020B0604020202020204" pitchFamily="34" charset="0"/>
              <a:buChar char="•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Received by ~9,800 members each Monday morning.</a:t>
            </a:r>
          </a:p>
          <a:p>
            <a:r>
              <a:rPr lang="en-US" dirty="0"/>
              <a:t>Events show up in the SPE-GCS weekly email under “Featured Events” section.</a:t>
            </a:r>
          </a:p>
          <a:p>
            <a:endParaRPr lang="en-US" dirty="0"/>
          </a:p>
          <a:p>
            <a:r>
              <a:rPr lang="en-US" dirty="0"/>
              <a:t>Priority given to near-term upcoming events with lower registration.</a:t>
            </a:r>
          </a:p>
          <a:p>
            <a:endParaRPr lang="en-US" dirty="0"/>
          </a:p>
          <a:p>
            <a:r>
              <a:rPr lang="en-US" dirty="0"/>
              <a:t>Please reach out to Lindsey, Thomas, and Taylor early to make sure your event is in the newsletter.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DD2D8A6-B3E7-F788-0776-4E5859E2B6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710" y="102485"/>
            <a:ext cx="9779183" cy="664399"/>
          </a:xfrm>
        </p:spPr>
        <p:txBody>
          <a:bodyPr anchor="t"/>
          <a:lstStyle/>
          <a:p>
            <a:r>
              <a:rPr lang="en-US" sz="4400" dirty="0"/>
              <a:t>Weekly Email Blast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6A8CEA1-DD80-2A56-842A-04812FC309E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E536160-8050-487F-A5F8-3018C576F8EA}" type="datetime1">
              <a:rPr lang="en-US" smtClean="0"/>
              <a:t>8/30/2024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F9422A0-CE07-8AF6-FF10-B8F28B96E9C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PE-GCS KICK-OFF MEETING 2024-2025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15DB646-B3BD-12DA-B177-B9BBC14F14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57856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9641FB4-C9CE-2C16-7594-433E2BEDD74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1006" y="1069034"/>
            <a:ext cx="3005522" cy="430604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00F9F24-7AD4-AC99-A839-F893CE42D5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710" y="102485"/>
            <a:ext cx="9779183" cy="664399"/>
          </a:xfrm>
        </p:spPr>
        <p:txBody>
          <a:bodyPr anchor="t"/>
          <a:lstStyle/>
          <a:p>
            <a:r>
              <a:rPr lang="en-US" sz="4400" dirty="0"/>
              <a:t>Individual Event Email Blast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3189928-7A10-CA7C-0D38-D671C3998809}"/>
              </a:ext>
            </a:extLst>
          </p:cNvPr>
          <p:cNvSpPr txBox="1"/>
          <p:nvPr/>
        </p:nvSpPr>
        <p:spPr>
          <a:xfrm>
            <a:off x="4126444" y="1069034"/>
            <a:ext cx="6941772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285750" indent="-285750" algn="just">
              <a:buFont typeface="Arial" panose="020B0604020202020204" pitchFamily="34" charset="0"/>
              <a:buChar char="•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Only sent to select email recipients based on study group or committee.</a:t>
            </a:r>
          </a:p>
          <a:p>
            <a:endParaRPr lang="en-US" dirty="0"/>
          </a:p>
          <a:p>
            <a:r>
              <a:rPr lang="en-US" dirty="0"/>
              <a:t>Limited spots per week to avoid spamming SPE-GCS mail recipients.</a:t>
            </a:r>
          </a:p>
          <a:p>
            <a:endParaRPr lang="en-US" dirty="0"/>
          </a:p>
          <a:p>
            <a:r>
              <a:rPr lang="en-US" dirty="0"/>
              <a:t>Priority given to near-term upcoming events with lower registration.</a:t>
            </a:r>
          </a:p>
          <a:p>
            <a:endParaRPr lang="en-US" dirty="0"/>
          </a:p>
          <a:p>
            <a:r>
              <a:rPr lang="en-US" dirty="0"/>
              <a:t>Please reach out to Lindsey, Thomas, and Taylor if you need to promote your event via email. 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8185320-8059-8AE2-B562-12548EEA70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877FC7E-CCE9-4D46-A26B-39683DE0039F}" type="datetime1">
              <a:rPr lang="en-US" smtClean="0"/>
              <a:t>8/30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725E385-FFF7-0BF7-B3B1-D33798E1B8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PE-GCS KICK-OFF MEETING 2024-2025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D480D94-7284-825D-01DC-20B608A969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355646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693F21F-440B-7EA7-900A-8D1CD01F24F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/>
          <a:stretch/>
        </p:blipFill>
        <p:spPr>
          <a:xfrm>
            <a:off x="643710" y="1069034"/>
            <a:ext cx="3074548" cy="484741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4750711-C401-F6D8-929C-8C43344B8F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710" y="102485"/>
            <a:ext cx="9779183" cy="664399"/>
          </a:xfrm>
        </p:spPr>
        <p:txBody>
          <a:bodyPr anchor="t"/>
          <a:lstStyle/>
          <a:p>
            <a:r>
              <a:rPr lang="en-US" sz="4400" dirty="0"/>
              <a:t>Social Media Post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26DAB8A-AA95-1F5E-AF98-862A36A77E0D}"/>
              </a:ext>
            </a:extLst>
          </p:cNvPr>
          <p:cNvSpPr txBox="1"/>
          <p:nvPr/>
        </p:nvSpPr>
        <p:spPr>
          <a:xfrm>
            <a:off x="4126444" y="1069034"/>
            <a:ext cx="6941772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SPE-GCS has over 21,000 LinkedIn  and 1,300 Instagram followers. We average 11 LinkedIn posts per month with 1,700 impressions per post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If you provide posting materials early, we can make multiple posts and re-share ahead of your event for maximum visibility.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Event flyer and tagging speakers, sponsors, and committees are highly recommended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Please reach out to Annie, Thomas, and Taylor if you need to promote your event via LinkedIn or Instagram.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035C92B-FDA7-4B34-A47A-72DB5AD1CED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967D53F4-03D0-41BA-B1E5-AB58DC3C7822}" type="datetime1">
              <a:rPr lang="en-US" smtClean="0"/>
              <a:t>8/30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29688F1-ED60-9C8C-9EA7-92CB56A10F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PE-GCS KICK-OFF MEETING 2024-2025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E548690-7DCF-05EB-C419-D4EC23A009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451920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750711-C401-F6D8-929C-8C43344B8F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710" y="102485"/>
            <a:ext cx="9779183" cy="664399"/>
          </a:xfrm>
        </p:spPr>
        <p:txBody>
          <a:bodyPr anchor="t"/>
          <a:lstStyle/>
          <a:p>
            <a:r>
              <a:rPr lang="en-US" sz="4400" dirty="0"/>
              <a:t>Requesting Social Media Post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26DAB8A-AA95-1F5E-AF98-862A36A77E0D}"/>
              </a:ext>
            </a:extLst>
          </p:cNvPr>
          <p:cNvSpPr txBox="1"/>
          <p:nvPr/>
        </p:nvSpPr>
        <p:spPr>
          <a:xfrm>
            <a:off x="643711" y="1069034"/>
            <a:ext cx="10424506" cy="53567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300" b="0" i="0" u="none" strike="noStrike" cap="none" normalizeH="0" baseline="0" dirty="0">
                <a:ln>
                  <a:noFill/>
                </a:ln>
                <a:solidFill>
                  <a:srgbClr val="222222"/>
                </a:solidFill>
                <a:effectLst/>
                <a:cs typeface="Arial" panose="020B0604020202020204" pitchFamily="34" charset="0"/>
              </a:rPr>
              <a:t>When requesting a social media post, please provide the following to </a:t>
            </a:r>
            <a:r>
              <a:rPr kumimoji="0" lang="en-US" altLang="en-US" sz="1300" i="0" u="none" strike="noStrike" cap="none" normalizeH="0" baseline="0" dirty="0">
                <a:ln>
                  <a:noFill/>
                </a:ln>
                <a:solidFill>
                  <a:srgbClr val="1155CC"/>
                </a:solidFill>
                <a:effectLst/>
                <a:cs typeface="Arial" panose="020B0604020202020204" pitchFamily="34" charset="0"/>
                <a:hlinkClick r:id="rId2"/>
              </a:rPr>
              <a:t>communications.spegcs@gmail.com</a:t>
            </a:r>
            <a:r>
              <a:rPr kumimoji="0" lang="en-US" altLang="en-US" sz="1300" b="1" i="0" u="none" strike="noStrike" cap="none" normalizeH="0" baseline="0" dirty="0">
                <a:ln>
                  <a:noFill/>
                </a:ln>
                <a:solidFill>
                  <a:srgbClr val="1155CC"/>
                </a:solidFill>
                <a:effectLst/>
                <a:cs typeface="Arial" panose="020B0604020202020204" pitchFamily="34" charset="0"/>
              </a:rPr>
              <a:t> </a:t>
            </a:r>
            <a:r>
              <a:rPr lang="en-US" altLang="en-US" sz="1300" dirty="0">
                <a:solidFill>
                  <a:srgbClr val="222222"/>
                </a:solidFill>
                <a:cs typeface="Arial" panose="020B0604020202020204" pitchFamily="34" charset="0"/>
              </a:rPr>
              <a:t>and copy both Thomas and Taylor: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altLang="en-US" sz="1300" dirty="0">
              <a:solidFill>
                <a:srgbClr val="222222"/>
              </a:solidFill>
              <a:cs typeface="Arial" panose="020B0604020202020204" pitchFamily="34" charset="0"/>
            </a:endParaRPr>
          </a:p>
          <a:p>
            <a:pPr marL="285750" marR="0" lvl="0" indent="-285750" algn="just" defTabSz="914400" rtl="0" eaLnBrk="0" fontAlgn="ctr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300" b="1" i="0" u="none" strike="noStrike" cap="none" normalizeH="0" baseline="0" dirty="0">
                <a:ln>
                  <a:noFill/>
                </a:ln>
                <a:solidFill>
                  <a:srgbClr val="222222"/>
                </a:solidFill>
                <a:effectLst/>
                <a:cs typeface="Arial" panose="020B0604020202020204" pitchFamily="34" charset="0"/>
              </a:rPr>
              <a:t>Description</a:t>
            </a:r>
            <a:r>
              <a:rPr kumimoji="0" lang="en-US" altLang="en-US" sz="1300" b="0" i="0" u="none" strike="noStrike" cap="none" normalizeH="0" baseline="0" dirty="0">
                <a:ln>
                  <a:noFill/>
                </a:ln>
                <a:solidFill>
                  <a:srgbClr val="222222"/>
                </a:solidFill>
                <a:effectLst/>
                <a:cs typeface="Arial" panose="020B0604020202020204" pitchFamily="34" charset="0"/>
              </a:rPr>
              <a:t> -  includes at least:</a:t>
            </a:r>
            <a:endParaRPr lang="en-US" altLang="en-US" sz="1300" dirty="0">
              <a:solidFill>
                <a:srgbClr val="222222"/>
              </a:solidFill>
              <a:cs typeface="Arial" panose="020B0604020202020204" pitchFamily="34" charset="0"/>
            </a:endParaRPr>
          </a:p>
          <a:p>
            <a:pPr marL="742950" lvl="1" indent="-285750" algn="just" fontAlgn="ctr">
              <a:buFont typeface="Courier New" panose="02070309020205020404" pitchFamily="49" charset="0"/>
              <a:buChar char="o"/>
            </a:pPr>
            <a:r>
              <a:rPr kumimoji="0" lang="en-US" altLang="en-US" sz="1300" b="0" i="0" u="none" strike="noStrike" cap="none" normalizeH="0" baseline="0" dirty="0">
                <a:ln>
                  <a:noFill/>
                </a:ln>
                <a:solidFill>
                  <a:srgbClr val="222222"/>
                </a:solidFill>
                <a:effectLst/>
                <a:cs typeface="Arial" panose="020B0604020202020204" pitchFamily="34" charset="0"/>
              </a:rPr>
              <a:t>Brief Text Description</a:t>
            </a:r>
          </a:p>
          <a:p>
            <a:pPr marL="742950" lvl="1" indent="-285750" algn="just" fontAlgn="ctr">
              <a:buFont typeface="Courier New" panose="02070309020205020404" pitchFamily="49" charset="0"/>
              <a:buChar char="o"/>
            </a:pPr>
            <a:r>
              <a:rPr kumimoji="0" lang="en-US" altLang="en-US" sz="1300" b="0" i="0" u="none" strike="noStrike" cap="none" normalizeH="0" baseline="0" dirty="0">
                <a:ln>
                  <a:noFill/>
                </a:ln>
                <a:solidFill>
                  <a:srgbClr val="222222"/>
                </a:solidFill>
                <a:effectLst/>
                <a:cs typeface="Arial" panose="020B0604020202020204" pitchFamily="34" charset="0"/>
              </a:rPr>
              <a:t>Date, Time, Location</a:t>
            </a:r>
            <a:endParaRPr lang="en-US" altLang="en-US" sz="1300" dirty="0">
              <a:solidFill>
                <a:srgbClr val="222222"/>
              </a:solidFill>
              <a:cs typeface="Arial" panose="020B0604020202020204" pitchFamily="34" charset="0"/>
            </a:endParaRPr>
          </a:p>
          <a:p>
            <a:pPr marL="742950" lvl="1" indent="-285750" algn="just" fontAlgn="ctr">
              <a:buFont typeface="Courier New" panose="02070309020205020404" pitchFamily="49" charset="0"/>
              <a:buChar char="o"/>
            </a:pPr>
            <a:r>
              <a:rPr kumimoji="0" lang="en-US" altLang="en-US" sz="1300" b="0" i="0" u="none" strike="noStrike" cap="none" normalizeH="0" baseline="0" dirty="0">
                <a:ln>
                  <a:noFill/>
                </a:ln>
                <a:solidFill>
                  <a:srgbClr val="222222"/>
                </a:solidFill>
                <a:effectLst/>
                <a:cs typeface="Arial" panose="020B0604020202020204" pitchFamily="34" charset="0"/>
              </a:rPr>
              <a:t>Tags</a:t>
            </a:r>
            <a:r>
              <a:rPr lang="en-US" altLang="en-US" sz="1300" dirty="0">
                <a:solidFill>
                  <a:srgbClr val="222222"/>
                </a:solidFill>
                <a:cs typeface="Arial" panose="020B0604020202020204" pitchFamily="34" charset="0"/>
              </a:rPr>
              <a:t> of speakers, sponsors, and committees</a:t>
            </a:r>
            <a:r>
              <a:rPr kumimoji="0" lang="en-US" altLang="en-US" sz="1300" b="0" i="0" u="none" strike="noStrike" cap="none" normalizeH="0" baseline="0" dirty="0">
                <a:ln>
                  <a:noFill/>
                </a:ln>
                <a:solidFill>
                  <a:srgbClr val="222222"/>
                </a:solidFill>
                <a:effectLst/>
                <a:cs typeface="Arial" panose="020B0604020202020204" pitchFamily="34" charset="0"/>
              </a:rPr>
              <a:t> (Let us know who you want to tag with @_name_). Please share full LinkedIn name of user to facilitate their finding.</a:t>
            </a:r>
            <a:endParaRPr lang="en-US" altLang="en-US" sz="1300" dirty="0">
              <a:solidFill>
                <a:srgbClr val="222222"/>
              </a:solidFill>
              <a:cs typeface="Arial" panose="020B0604020202020204" pitchFamily="34" charset="0"/>
            </a:endParaRPr>
          </a:p>
          <a:p>
            <a:pPr marL="742950" lvl="1" indent="-285750" algn="just" fontAlgn="ctr">
              <a:buFont typeface="Courier New" panose="02070309020205020404" pitchFamily="49" charset="0"/>
              <a:buChar char="o"/>
            </a:pPr>
            <a:r>
              <a:rPr kumimoji="0" lang="en-US" altLang="en-US" sz="1300" b="0" i="0" u="none" strike="noStrike" cap="none" normalizeH="0" baseline="0" dirty="0">
                <a:ln>
                  <a:noFill/>
                </a:ln>
                <a:solidFill>
                  <a:srgbClr val="222222"/>
                </a:solidFill>
                <a:effectLst/>
                <a:cs typeface="Arial" panose="020B0604020202020204" pitchFamily="34" charset="0"/>
              </a:rPr>
              <a:t>Any Hashtags</a:t>
            </a:r>
            <a:endParaRPr lang="en-US" altLang="en-US" sz="1300" dirty="0">
              <a:solidFill>
                <a:srgbClr val="222222"/>
              </a:solidFill>
              <a:cs typeface="Arial" panose="020B0604020202020204" pitchFamily="34" charset="0"/>
            </a:endParaRPr>
          </a:p>
          <a:p>
            <a:pPr marL="742950" lvl="1" indent="-285750" algn="just" fontAlgn="ctr">
              <a:buFont typeface="Courier New" panose="02070309020205020404" pitchFamily="49" charset="0"/>
              <a:buChar char="o"/>
            </a:pPr>
            <a:r>
              <a:rPr kumimoji="0" lang="en-US" altLang="en-US" sz="1300" b="0" i="0" u="none" strike="noStrike" cap="none" normalizeH="0" baseline="0" dirty="0">
                <a:ln>
                  <a:noFill/>
                </a:ln>
                <a:solidFill>
                  <a:srgbClr val="222222"/>
                </a:solidFill>
                <a:effectLst/>
                <a:cs typeface="Arial" panose="020B0604020202020204" pitchFamily="34" charset="0"/>
              </a:rPr>
              <a:t>Feel free to look at the </a:t>
            </a:r>
            <a:r>
              <a:rPr kumimoji="0" lang="en-US" altLang="en-US" sz="1300" b="0" i="0" u="none" strike="noStrike" cap="none" normalizeH="0" baseline="0" dirty="0">
                <a:ln>
                  <a:noFill/>
                </a:ln>
                <a:solidFill>
                  <a:srgbClr val="222222"/>
                </a:solidFill>
                <a:effectLst/>
                <a:cs typeface="Arial" panose="020B0604020202020204" pitchFamily="34" charset="0"/>
                <a:hlinkClick r:id="rId3"/>
              </a:rPr>
              <a:t>Society Petroleum Engineers – Gulf Coast Section LinkedIn Page </a:t>
            </a:r>
            <a:r>
              <a:rPr kumimoji="0" lang="en-US" altLang="en-US" sz="1300" b="0" i="0" u="none" strike="noStrike" cap="none" normalizeH="0" baseline="0" dirty="0">
                <a:ln>
                  <a:noFill/>
                </a:ln>
                <a:solidFill>
                  <a:srgbClr val="222222"/>
                </a:solidFill>
                <a:effectLst/>
                <a:cs typeface="Arial" panose="020B0604020202020204" pitchFamily="34" charset="0"/>
              </a:rPr>
              <a:t>for inspiration.</a:t>
            </a:r>
          </a:p>
          <a:p>
            <a:pPr lvl="1" algn="just" fontAlgn="ctr"/>
            <a:endParaRPr kumimoji="0" lang="en-US" altLang="en-US" sz="1300" b="0" i="0" u="none" strike="noStrike" cap="none" normalizeH="0" baseline="0" dirty="0">
              <a:ln>
                <a:noFill/>
              </a:ln>
              <a:solidFill>
                <a:srgbClr val="222222"/>
              </a:solidFill>
              <a:effectLst/>
              <a:cs typeface="Arial" panose="020B0604020202020204" pitchFamily="34" charset="0"/>
            </a:endParaRPr>
          </a:p>
          <a:p>
            <a:pPr marL="285750" marR="0" lvl="0" indent="-285750" algn="just" defTabSz="914400" rtl="0" eaLnBrk="0" fontAlgn="ctr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300" b="1" i="0" u="none" strike="noStrike" cap="none" normalizeH="0" baseline="0" dirty="0">
                <a:ln>
                  <a:noFill/>
                </a:ln>
                <a:solidFill>
                  <a:srgbClr val="222222"/>
                </a:solidFill>
                <a:effectLst/>
                <a:cs typeface="Arial" panose="020B0604020202020204" pitchFamily="34" charset="0"/>
              </a:rPr>
              <a:t>Graphic</a:t>
            </a:r>
            <a:endParaRPr lang="en-US" altLang="en-US" sz="1300" b="1" dirty="0">
              <a:solidFill>
                <a:srgbClr val="222222"/>
              </a:solidFill>
              <a:cs typeface="Arial" panose="020B0604020202020204" pitchFamily="34" charset="0"/>
            </a:endParaRPr>
          </a:p>
          <a:p>
            <a:pPr marL="742950" lvl="1" indent="-285750" algn="just" fontAlgn="ctr">
              <a:buFont typeface="Courier New" panose="02070309020205020404" pitchFamily="49" charset="0"/>
              <a:buChar char="o"/>
            </a:pPr>
            <a:r>
              <a:rPr kumimoji="0" lang="en-US" altLang="en-US" sz="1300" b="0" i="0" u="none" strike="noStrike" cap="none" normalizeH="0" baseline="0" dirty="0">
                <a:ln>
                  <a:noFill/>
                </a:ln>
                <a:solidFill>
                  <a:srgbClr val="222222"/>
                </a:solidFill>
                <a:effectLst/>
                <a:cs typeface="Arial" panose="020B0604020202020204" pitchFamily="34" charset="0"/>
              </a:rPr>
              <a:t>If you do not provide a graphic, we can make one for you following a standard template. However, we'd like for you to contact us at least </a:t>
            </a:r>
            <a:r>
              <a:rPr kumimoji="0" lang="en-US" altLang="en-US" sz="1300" b="1" i="0" u="none" strike="noStrike" cap="none" normalizeH="0" baseline="0" dirty="0">
                <a:ln>
                  <a:noFill/>
                </a:ln>
                <a:solidFill>
                  <a:srgbClr val="222222"/>
                </a:solidFill>
                <a:effectLst/>
                <a:cs typeface="Arial" panose="020B0604020202020204" pitchFamily="34" charset="0"/>
              </a:rPr>
              <a:t>1 week</a:t>
            </a:r>
            <a:r>
              <a:rPr kumimoji="0" lang="en-US" altLang="en-US" sz="1300" b="0" i="0" u="none" strike="noStrike" cap="none" normalizeH="0" baseline="0" dirty="0">
                <a:ln>
                  <a:noFill/>
                </a:ln>
                <a:solidFill>
                  <a:srgbClr val="222222"/>
                </a:solidFill>
                <a:effectLst/>
                <a:cs typeface="Arial" panose="020B0604020202020204" pitchFamily="34" charset="0"/>
              </a:rPr>
              <a:t> prior to when you want to start posting in order to allow for proper feedback to make sure all info is correct.</a:t>
            </a:r>
          </a:p>
          <a:p>
            <a:pPr lvl="1" algn="just" fontAlgn="ctr"/>
            <a:endParaRPr kumimoji="0" lang="en-US" altLang="en-US" sz="1300" b="0" i="0" u="none" strike="noStrike" cap="none" normalizeH="0" baseline="0" dirty="0">
              <a:ln>
                <a:noFill/>
              </a:ln>
              <a:solidFill>
                <a:srgbClr val="222222"/>
              </a:solidFill>
              <a:effectLst/>
              <a:cs typeface="Arial" panose="020B0604020202020204" pitchFamily="34" charset="0"/>
            </a:endParaRPr>
          </a:p>
          <a:p>
            <a:pPr marL="233363" marR="0" lvl="0" indent="-233363" algn="just" defTabSz="914400" rtl="0" eaLnBrk="0" fontAlgn="ctr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300" b="0" i="0" u="none" strike="noStrike" cap="none" normalizeH="0" baseline="0" dirty="0">
                <a:ln>
                  <a:noFill/>
                </a:ln>
                <a:solidFill>
                  <a:srgbClr val="222222"/>
                </a:solidFill>
                <a:effectLst/>
                <a:cs typeface="Arial" panose="020B0604020202020204" pitchFamily="34" charset="0"/>
              </a:rPr>
              <a:t>Please send your request at </a:t>
            </a:r>
            <a:r>
              <a:rPr kumimoji="0" lang="en-US" altLang="en-US" sz="1300" b="1" i="0" u="none" strike="noStrike" cap="none" normalizeH="0" baseline="0" dirty="0">
                <a:ln>
                  <a:noFill/>
                </a:ln>
                <a:solidFill>
                  <a:srgbClr val="222222"/>
                </a:solidFill>
                <a:effectLst/>
                <a:cs typeface="Arial" panose="020B0604020202020204" pitchFamily="34" charset="0"/>
              </a:rPr>
              <a:t>1 week </a:t>
            </a:r>
            <a:r>
              <a:rPr kumimoji="0" lang="en-US" altLang="en-US" sz="1300" b="0" i="0" u="none" strike="noStrike" cap="none" normalizeH="0" baseline="0" dirty="0">
                <a:ln>
                  <a:noFill/>
                </a:ln>
                <a:solidFill>
                  <a:srgbClr val="222222"/>
                </a:solidFill>
                <a:effectLst/>
                <a:cs typeface="Arial" panose="020B0604020202020204" pitchFamily="34" charset="0"/>
              </a:rPr>
              <a:t>in advance. If you would like to have the post on a certain date, please specify in your email and we will accommodate if possible.</a:t>
            </a:r>
          </a:p>
          <a:p>
            <a:pPr marR="0" lvl="0" algn="just" defTabSz="914400" rtl="0" eaLnBrk="0" fontAlgn="ctr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kumimoji="0" lang="en-US" altLang="en-US" sz="1300" b="0" i="0" u="none" strike="noStrike" cap="none" normalizeH="0" baseline="0" dirty="0">
              <a:ln>
                <a:noFill/>
              </a:ln>
              <a:solidFill>
                <a:srgbClr val="222222"/>
              </a:solidFill>
              <a:effectLst/>
              <a:cs typeface="Arial" panose="020B0604020202020204" pitchFamily="34" charset="0"/>
            </a:endParaRPr>
          </a:p>
          <a:p>
            <a:pPr marL="233363" marR="0" lvl="0" indent="-233363" algn="just" defTabSz="914400" rtl="0" eaLnBrk="0" fontAlgn="ctr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300" b="0" i="0" u="none" strike="noStrike" cap="none" normalizeH="0" baseline="0" dirty="0">
                <a:ln>
                  <a:noFill/>
                </a:ln>
                <a:solidFill>
                  <a:srgbClr val="222222"/>
                </a:solidFill>
                <a:effectLst/>
                <a:cs typeface="Arial" panose="020B0604020202020204" pitchFamily="34" charset="0"/>
              </a:rPr>
              <a:t>The best way to get </a:t>
            </a:r>
            <a:r>
              <a:rPr kumimoji="0" lang="en-US" altLang="en-US" sz="1300" b="1" u="sng" strike="noStrike" cap="none" normalizeH="0" baseline="0" dirty="0">
                <a:ln>
                  <a:noFill/>
                </a:ln>
                <a:effectLst/>
                <a:cs typeface="Arial" panose="020B0604020202020204" pitchFamily="34" charset="0"/>
              </a:rPr>
              <a:t>exposure is to have members share and comment on the post throughout the week</a:t>
            </a:r>
            <a:r>
              <a:rPr kumimoji="0" lang="en-US" altLang="en-US" sz="1300" b="0" i="0" u="none" strike="noStrike" cap="none" normalizeH="0" baseline="0" dirty="0">
                <a:ln>
                  <a:noFill/>
                </a:ln>
                <a:solidFill>
                  <a:srgbClr val="222222"/>
                </a:solidFill>
                <a:effectLst/>
                <a:cs typeface="Arial" panose="020B0604020202020204" pitchFamily="34" charset="0"/>
              </a:rPr>
              <a:t>. This will keep the post alive and circulating.</a:t>
            </a:r>
          </a:p>
          <a:p>
            <a:pPr marL="233363" marR="0" lvl="0" indent="-233363" algn="just" defTabSz="914400" rtl="0" eaLnBrk="0" fontAlgn="ctr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en-US" altLang="en-US" sz="1300" dirty="0">
              <a:solidFill>
                <a:srgbClr val="222222"/>
              </a:solidFill>
              <a:cs typeface="Arial" panose="020B0604020202020204" pitchFamily="34" charset="0"/>
            </a:endParaRPr>
          </a:p>
          <a:p>
            <a:pPr marL="233363" marR="0" lvl="0" indent="-233363" algn="just" defTabSz="914400" rtl="0" eaLnBrk="0" fontAlgn="ctr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300" b="0" i="0" u="none" strike="noStrike" cap="none" normalizeH="0" baseline="0" dirty="0">
                <a:ln>
                  <a:noFill/>
                </a:ln>
                <a:solidFill>
                  <a:srgbClr val="222222"/>
                </a:solidFill>
                <a:effectLst/>
                <a:cs typeface="Arial" panose="020B0604020202020204" pitchFamily="34" charset="0"/>
              </a:rPr>
              <a:t> We try to space out most of the postings so they get enough exposure, but there are many posts that go through the page, so it is easy for a certain ad to get “lost</a:t>
            </a:r>
            <a:r>
              <a:rPr lang="en-US" altLang="en-US" sz="1300" dirty="0">
                <a:solidFill>
                  <a:srgbClr val="222222"/>
                </a:solidFill>
                <a:cs typeface="Arial" panose="020B0604020202020204" pitchFamily="34" charset="0"/>
              </a:rPr>
              <a:t>”</a:t>
            </a:r>
            <a:r>
              <a:rPr kumimoji="0" lang="en-US" altLang="en-US" sz="1300" b="0" i="0" u="none" strike="noStrike" cap="none" normalizeH="0" baseline="0" dirty="0">
                <a:ln>
                  <a:noFill/>
                </a:ln>
                <a:solidFill>
                  <a:srgbClr val="222222"/>
                </a:solidFill>
                <a:effectLst/>
                <a:cs typeface="Arial" panose="020B0604020202020204" pitchFamily="34" charset="0"/>
              </a:rPr>
              <a:t>. Please keep that in mind.</a:t>
            </a:r>
          </a:p>
          <a:p>
            <a:pPr marL="233363" marR="0" lvl="0" indent="-233363" algn="just" defTabSz="914400" rtl="0" eaLnBrk="0" fontAlgn="ctr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altLang="en-US" sz="1300" b="0" i="0" u="none" strike="noStrike" cap="none" normalizeH="0" baseline="0" dirty="0">
              <a:ln>
                <a:noFill/>
              </a:ln>
              <a:solidFill>
                <a:srgbClr val="222222"/>
              </a:solidFill>
              <a:effectLst/>
              <a:cs typeface="Arial" panose="020B0604020202020204" pitchFamily="34" charset="0"/>
            </a:endParaRPr>
          </a:p>
          <a:p>
            <a:pPr marL="233363" marR="0" lvl="0" indent="-233363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1300" b="0" i="0" u="none" strike="noStrike" cap="none" normalizeH="0" baseline="0" dirty="0">
                <a:ln>
                  <a:noFill/>
                </a:ln>
                <a:solidFill>
                  <a:srgbClr val="222222"/>
                </a:solidFill>
                <a:effectLst/>
                <a:cs typeface="Arial" panose="020B0604020202020204" pitchFamily="34" charset="0"/>
              </a:rPr>
              <a:t>Pleases send Annie, Thomas, and Taylor a reminder if you don’t hear back or see the event posted within a few days after sending in your request.</a:t>
            </a:r>
          </a:p>
          <a:p>
            <a:pPr marL="285750" indent="-285750" algn="just">
              <a:lnSpc>
                <a:spcPct val="15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3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C7B8E03-D956-6B74-685E-B7D800D745A5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3B9C52E-1E5F-492B-AEA6-823AF8317842}" type="datetime1">
              <a:rPr lang="en-US" smtClean="0"/>
              <a:t>8/30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D89DA31-AA03-6FD6-3653-473ECAAD01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PE-GCS KICK-OFF MEETING 2024-2025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9CDA349-238E-8860-074E-EB5386CF9F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278918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F2DE56C-BC7D-4A21-AA88-90A1FED6CC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14F879-D1BB-4B4D-8301-0FCCA6BB67F4}" type="slidenum">
              <a:rPr lang="en-US" smtClean="0"/>
              <a:t>28</a:t>
            </a:fld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2AC9FFE-4F8D-B580-7344-76498778CD01}"/>
              </a:ext>
            </a:extLst>
          </p:cNvPr>
          <p:cNvSpPr/>
          <p:nvPr/>
        </p:nvSpPr>
        <p:spPr>
          <a:xfrm>
            <a:off x="1719634" y="1568653"/>
            <a:ext cx="4112346" cy="3663305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B13B4DFE-B148-B70E-8813-88BFF66D6B6D}"/>
              </a:ext>
            </a:extLst>
          </p:cNvPr>
          <p:cNvCxnSpPr>
            <a:cxnSpLocks/>
          </p:cNvCxnSpPr>
          <p:nvPr/>
        </p:nvCxnSpPr>
        <p:spPr>
          <a:xfrm>
            <a:off x="3777034" y="1155162"/>
            <a:ext cx="102912" cy="0"/>
          </a:xfrm>
          <a:prstGeom prst="straightConnector1">
            <a:avLst/>
          </a:prstGeom>
          <a:ln w="571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A9D1DEDA-4B77-FDB6-7B54-4F5EBE54ABD4}"/>
              </a:ext>
            </a:extLst>
          </p:cNvPr>
          <p:cNvSpPr/>
          <p:nvPr/>
        </p:nvSpPr>
        <p:spPr>
          <a:xfrm>
            <a:off x="1321392" y="1015333"/>
            <a:ext cx="4458322" cy="381053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Content Placeholder 6">
            <a:extLst>
              <a:ext uri="{FF2B5EF4-FFF2-40B4-BE49-F238E27FC236}">
                <a16:creationId xmlns:a16="http://schemas.microsoft.com/office/drawing/2014/main" id="{B715D033-5A4C-BBFC-F4F9-5F0F1F7E8E05}"/>
              </a:ext>
            </a:extLst>
          </p:cNvPr>
          <p:cNvSpPr txBox="1">
            <a:spLocks/>
          </p:cNvSpPr>
          <p:nvPr/>
        </p:nvSpPr>
        <p:spPr>
          <a:xfrm>
            <a:off x="6208090" y="1396386"/>
            <a:ext cx="5194079" cy="26511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0"/>
              </a:spcAft>
              <a:buNone/>
            </a:pPr>
            <a:r>
              <a:rPr lang="en-US" sz="2400" dirty="0"/>
              <a:t>The SPE website contains additional information at spegcs.org/member-resources/. </a:t>
            </a:r>
          </a:p>
          <a:p>
            <a:pPr marL="0" indent="0" fontAlgn="auto">
              <a:spcAft>
                <a:spcPts val="0"/>
              </a:spcAft>
              <a:buNone/>
            </a:pPr>
            <a:endParaRPr lang="en-US" sz="2400" dirty="0"/>
          </a:p>
          <a:p>
            <a:pPr marL="0" indent="0" fontAlgn="auto">
              <a:spcAft>
                <a:spcPts val="0"/>
              </a:spcAft>
              <a:buNone/>
            </a:pPr>
            <a:r>
              <a:rPr lang="en-US" sz="2400" dirty="0"/>
              <a:t>If you have any questions, please reach out to Thomas and Taylor. </a:t>
            </a:r>
          </a:p>
          <a:p>
            <a:pPr marL="0" indent="0" fontAlgn="auto">
              <a:spcAft>
                <a:spcPts val="0"/>
              </a:spcAft>
              <a:buNone/>
            </a:pPr>
            <a:endParaRPr lang="en-US" sz="2400" dirty="0"/>
          </a:p>
          <a:p>
            <a:pPr marL="0" indent="0" fontAlgn="auto">
              <a:spcAft>
                <a:spcPts val="0"/>
              </a:spcAft>
              <a:buNone/>
            </a:pPr>
            <a:endParaRPr lang="en-US" sz="24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5C1E77B-CC96-0C12-E8BA-DD3E12A35E4F}"/>
              </a:ext>
            </a:extLst>
          </p:cNvPr>
          <p:cNvSpPr txBox="1">
            <a:spLocks/>
          </p:cNvSpPr>
          <p:nvPr/>
        </p:nvSpPr>
        <p:spPr>
          <a:xfrm>
            <a:off x="643710" y="102485"/>
            <a:ext cx="9779183" cy="66439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1" dirty="0"/>
              <a:t>Additional Communications Resources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529FDAE-5B1F-9251-BB15-64D4637D117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19634" y="1568654"/>
            <a:ext cx="4112346" cy="3720694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23101994-EFDE-C581-1478-83C796F494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21392" y="1015334"/>
            <a:ext cx="4458322" cy="381053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408C1FA-0EA6-E2B4-21D7-CABE119E6E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061097-0C48-4B07-BE51-F93EF4B6F4F2}" type="datetime1">
              <a:rPr lang="en-US" smtClean="0"/>
              <a:t>8/30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83D8B47-F393-4353-85A0-3D3BEDE5E7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PE-GCS KICK-OFF MEETING 2024-202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43740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E227AB-B824-4217-B27C-B528D72EE2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ailable Resourc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A6F0B01-DBA6-410D-8B15-DCF438292A6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585690" y="2731727"/>
            <a:ext cx="3565434" cy="603147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sz="2600" b="1" dirty="0"/>
              <a:t>On demand library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73C257D-EED4-46F6-803C-E125DD1A93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PE-GCS KICK-OFF MEETING 2024-2025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3C38CCF-EA2D-4D36-A03E-30F08B6968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29</a:t>
            </a:fld>
            <a:endParaRPr lang="en-US" dirty="0"/>
          </a:p>
        </p:txBody>
      </p:sp>
      <p:pic>
        <p:nvPicPr>
          <p:cNvPr id="8" name="Graphic 7" descr="Flip calendar with solid fill">
            <a:extLst>
              <a:ext uri="{FF2B5EF4-FFF2-40B4-BE49-F238E27FC236}">
                <a16:creationId xmlns:a16="http://schemas.microsoft.com/office/drawing/2014/main" id="{B9DCC115-AF20-4305-9D5D-6484B41A2F3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11304" y="5096863"/>
            <a:ext cx="914400" cy="914400"/>
          </a:xfrm>
          <a:prstGeom prst="rect">
            <a:avLst/>
          </a:prstGeom>
        </p:spPr>
      </p:pic>
      <p:pic>
        <p:nvPicPr>
          <p:cNvPr id="10" name="Graphic 9" descr="Vlog with solid fill">
            <a:extLst>
              <a:ext uri="{FF2B5EF4-FFF2-40B4-BE49-F238E27FC236}">
                <a16:creationId xmlns:a16="http://schemas.microsoft.com/office/drawing/2014/main" id="{24E36D47-0F65-444F-9F88-7F9CC1D434A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11304" y="2559495"/>
            <a:ext cx="914400" cy="914400"/>
          </a:xfrm>
          <a:prstGeom prst="rect">
            <a:avLst/>
          </a:prstGeom>
        </p:spPr>
      </p:pic>
      <p:pic>
        <p:nvPicPr>
          <p:cNvPr id="12" name="Graphic 11" descr="Podcast outline">
            <a:extLst>
              <a:ext uri="{FF2B5EF4-FFF2-40B4-BE49-F238E27FC236}">
                <a16:creationId xmlns:a16="http://schemas.microsoft.com/office/drawing/2014/main" id="{2E5B6978-B023-4438-A61F-A504D308D7F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11304" y="3828179"/>
            <a:ext cx="914400" cy="914400"/>
          </a:xfrm>
          <a:prstGeom prst="rect">
            <a:avLst/>
          </a:prstGeom>
        </p:spPr>
      </p:pic>
      <p:pic>
        <p:nvPicPr>
          <p:cNvPr id="19" name="Graphic 18" descr="Children with solid fill">
            <a:extLst>
              <a:ext uri="{FF2B5EF4-FFF2-40B4-BE49-F238E27FC236}">
                <a16:creationId xmlns:a16="http://schemas.microsoft.com/office/drawing/2014/main" id="{E272D45D-6699-43E0-B167-7763FC5A0BC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057083" y="3626739"/>
            <a:ext cx="914400" cy="914400"/>
          </a:xfrm>
          <a:prstGeom prst="rect">
            <a:avLst/>
          </a:prstGeom>
        </p:spPr>
      </p:pic>
      <p:pic>
        <p:nvPicPr>
          <p:cNvPr id="13" name="Graphic 12" descr="Newspaper with solid fill">
            <a:extLst>
              <a:ext uri="{FF2B5EF4-FFF2-40B4-BE49-F238E27FC236}">
                <a16:creationId xmlns:a16="http://schemas.microsoft.com/office/drawing/2014/main" id="{33D0125B-1756-4905-AEB9-54F0C138453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057083" y="2487313"/>
            <a:ext cx="914400" cy="914400"/>
          </a:xfrm>
          <a:prstGeom prst="rect">
            <a:avLst/>
          </a:prstGeom>
        </p:spPr>
      </p:pic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112A8D90-8384-4B09-AE59-4D3C03AA1B4A}"/>
              </a:ext>
            </a:extLst>
          </p:cNvPr>
          <p:cNvSpPr txBox="1">
            <a:spLocks/>
          </p:cNvSpPr>
          <p:nvPr/>
        </p:nvSpPr>
        <p:spPr>
          <a:xfrm>
            <a:off x="7077951" y="3710082"/>
            <a:ext cx="4114800" cy="91440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2600" b="1" dirty="0"/>
              <a:t>Membership Appreciation Events</a:t>
            </a:r>
          </a:p>
          <a:p>
            <a:pPr>
              <a:lnSpc>
                <a:spcPct val="100000"/>
              </a:lnSpc>
            </a:pPr>
            <a:endParaRPr lang="en-US" sz="2600" b="1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803705F-E1F9-491D-B575-7EDC8C5BCABE}"/>
              </a:ext>
            </a:extLst>
          </p:cNvPr>
          <p:cNvSpPr txBox="1">
            <a:spLocks/>
          </p:cNvSpPr>
          <p:nvPr/>
        </p:nvSpPr>
        <p:spPr>
          <a:xfrm>
            <a:off x="1585690" y="3960286"/>
            <a:ext cx="3565434" cy="60314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2600" b="1" dirty="0"/>
              <a:t>Podcast Episodes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92BB9194-8BDA-43E1-8D29-0857AB4B6869}"/>
              </a:ext>
            </a:extLst>
          </p:cNvPr>
          <p:cNvSpPr txBox="1">
            <a:spLocks/>
          </p:cNvSpPr>
          <p:nvPr/>
        </p:nvSpPr>
        <p:spPr>
          <a:xfrm>
            <a:off x="1585690" y="5188844"/>
            <a:ext cx="4357910" cy="60314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2600" b="1" dirty="0"/>
              <a:t>Monthly &amp; One-Day Technical Events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712DF898-C004-471A-A890-6293CDE27A48}"/>
              </a:ext>
            </a:extLst>
          </p:cNvPr>
          <p:cNvSpPr txBox="1">
            <a:spLocks/>
          </p:cNvSpPr>
          <p:nvPr/>
        </p:nvSpPr>
        <p:spPr>
          <a:xfrm>
            <a:off x="7077951" y="2642939"/>
            <a:ext cx="3565434" cy="60314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2600" b="1" dirty="0"/>
              <a:t>Ad Opportunities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45343C42-1E3A-4A04-A871-69A811704A2E}"/>
              </a:ext>
            </a:extLst>
          </p:cNvPr>
          <p:cNvSpPr txBox="1">
            <a:spLocks/>
          </p:cNvSpPr>
          <p:nvPr/>
        </p:nvSpPr>
        <p:spPr>
          <a:xfrm>
            <a:off x="6971483" y="4932882"/>
            <a:ext cx="4114800" cy="91440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2600" b="1" dirty="0"/>
              <a:t>Monthly Volunteer Spotlight</a:t>
            </a:r>
          </a:p>
          <a:p>
            <a:pPr>
              <a:lnSpc>
                <a:spcPct val="100000"/>
              </a:lnSpc>
            </a:pPr>
            <a:endParaRPr lang="en-US" sz="2600" b="1" dirty="0"/>
          </a:p>
        </p:txBody>
      </p:sp>
      <p:pic>
        <p:nvPicPr>
          <p:cNvPr id="9" name="Graphic 8" descr="Open hand outline">
            <a:extLst>
              <a:ext uri="{FF2B5EF4-FFF2-40B4-BE49-F238E27FC236}">
                <a16:creationId xmlns:a16="http://schemas.microsoft.com/office/drawing/2014/main" id="{662DD795-4A8C-4A50-ABD0-842EA32C282F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000341" y="4744775"/>
            <a:ext cx="914400" cy="9144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542EE0-79A7-B724-C1F9-BC13BE6180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B80A25-DF57-4489-A342-583DC732BF10}" type="datetime1">
              <a:rPr lang="en-US" smtClean="0"/>
              <a:t>8/30/20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671110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BE1C9BD1-0996-0C29-FFCA-C230C5BCC3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779714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0" imgH="350" progId="TCLayout.ActiveDocument.1">
                  <p:embed/>
                </p:oleObj>
              </mc:Choice>
              <mc:Fallback>
                <p:oleObj name="think-cell Slide" r:id="rId4" imgW="350" imgH="350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1C9BD1-0996-0C29-FFCA-C230C5BCC3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itle 23">
            <a:extLst>
              <a:ext uri="{FF2B5EF4-FFF2-40B4-BE49-F238E27FC236}">
                <a16:creationId xmlns:a16="http://schemas.microsoft.com/office/drawing/2014/main" id="{FC4B22D5-B541-83A1-C3AF-FE2BCFF3EF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06408" y="178608"/>
            <a:ext cx="4385073" cy="658827"/>
          </a:xfrm>
        </p:spPr>
        <p:txBody>
          <a:bodyPr vert="horz"/>
          <a:lstStyle/>
          <a:p>
            <a:r>
              <a:rPr lang="en-GB" dirty="0"/>
              <a:t>Hurricanes  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94AA5FE-CF7F-28EA-8F8D-4B938E8DDCA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3760" y="1482527"/>
            <a:ext cx="2721051" cy="5140804"/>
          </a:xfrm>
        </p:spPr>
        <p:txBody>
          <a:bodyPr>
            <a:norm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800" dirty="0"/>
              <a:t>The hurricane season in Texas is from June 1 to November 30 every year, with peak tropical storm from Aug through mid-September. 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800" dirty="0"/>
              <a:t>FEMA - Federal Emergency Management Agency </a:t>
            </a:r>
            <a:r>
              <a:rPr lang="en-US" sz="1800" b="1" dirty="0">
                <a:hlinkClick r:id="rId6"/>
              </a:rPr>
              <a:t>FEMA.gov</a:t>
            </a:r>
            <a:endParaRPr lang="en-US" sz="1800" b="1" dirty="0">
              <a:solidFill>
                <a:srgbClr val="404040"/>
              </a:solidFill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800" b="0" i="0" dirty="0">
                <a:effectLst/>
              </a:rPr>
              <a:t>US Dept. of Homeland Security </a:t>
            </a:r>
            <a:r>
              <a:rPr lang="en-US" sz="1800" b="1" i="0" u="sng" dirty="0">
                <a:solidFill>
                  <a:srgbClr val="404040"/>
                </a:solidFill>
                <a:effectLst/>
                <a:hlinkClick r:id="rId7"/>
              </a:rPr>
              <a:t>www.ready.gov</a:t>
            </a:r>
            <a:endParaRPr lang="en-US" sz="1800" u="sng" dirty="0">
              <a:solidFill>
                <a:srgbClr val="404040"/>
              </a:solidFill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800" dirty="0"/>
              <a:t>National Hurricane Center </a:t>
            </a:r>
            <a:r>
              <a:rPr lang="en-US" sz="1800" b="1" i="0" u="sng" dirty="0">
                <a:solidFill>
                  <a:srgbClr val="404040"/>
                </a:solidFill>
                <a:effectLst/>
                <a:hlinkClick r:id="rId8"/>
              </a:rPr>
              <a:t>www.nhc.noaa.gov/</a:t>
            </a:r>
            <a:endParaRPr lang="en-US" sz="1800" b="0" i="0" dirty="0">
              <a:solidFill>
                <a:srgbClr val="404040"/>
              </a:solidFill>
              <a:effectLst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sz="1800" dirty="0"/>
          </a:p>
          <a:p>
            <a:endParaRPr lang="en-GB" sz="1800" u="sng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E0232E3-2DF5-43B1-7C3D-779C482EF99D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3249" t="1554" r="2609" b="10129"/>
          <a:stretch/>
        </p:blipFill>
        <p:spPr>
          <a:xfrm>
            <a:off x="3068141" y="747853"/>
            <a:ext cx="4771988" cy="6071795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5B0A196-BA85-FDC9-D713-CDFFBC7AA7C5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649D2AA-6FCE-4DA6-9D6F-48A8D8179895}" type="datetime1">
              <a:rPr lang="en-US" smtClean="0"/>
              <a:t>8/30/2024</a:t>
            </a:fld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507D1778-7BDF-2985-1C51-D6BED7FE35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3</a:t>
            </a:fld>
            <a:endParaRPr lang="en-US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B4B489FD-7BF3-8604-7B2E-AD2838D6EBB6}"/>
              </a:ext>
            </a:extLst>
          </p:cNvPr>
          <p:cNvGrpSpPr/>
          <p:nvPr/>
        </p:nvGrpSpPr>
        <p:grpSpPr>
          <a:xfrm>
            <a:off x="8023459" y="2464197"/>
            <a:ext cx="4087859" cy="2529144"/>
            <a:chOff x="8023460" y="2266973"/>
            <a:chExt cx="3925801" cy="2461908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B1CEA7DE-8ED6-BF13-B4C3-4620B28EAA6F}"/>
                </a:ext>
              </a:extLst>
            </p:cNvPr>
            <p:cNvGrpSpPr/>
            <p:nvPr/>
          </p:nvGrpSpPr>
          <p:grpSpPr>
            <a:xfrm>
              <a:off x="8023460" y="2266973"/>
              <a:ext cx="3925801" cy="2461908"/>
              <a:chOff x="7475793" y="128363"/>
              <a:chExt cx="4600924" cy="3029132"/>
            </a:xfrm>
          </p:grpSpPr>
          <p:pic>
            <p:nvPicPr>
              <p:cNvPr id="5" name="Picture 4">
                <a:extLst>
                  <a:ext uri="{FF2B5EF4-FFF2-40B4-BE49-F238E27FC236}">
                    <a16:creationId xmlns:a16="http://schemas.microsoft.com/office/drawing/2014/main" id="{9B2105D6-7100-FD0D-E1C6-5DEA7B39A05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7475793" y="128363"/>
                <a:ext cx="4600924" cy="3029132"/>
              </a:xfrm>
              <a:prstGeom prst="rect">
                <a:avLst/>
              </a:prstGeom>
            </p:spPr>
          </p:pic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9FB1CF9E-AB30-A1C1-B50A-E0C141321B67}"/>
                  </a:ext>
                </a:extLst>
              </p:cNvPr>
              <p:cNvSpPr/>
              <p:nvPr/>
            </p:nvSpPr>
            <p:spPr>
              <a:xfrm>
                <a:off x="11313160" y="2159000"/>
                <a:ext cx="763557" cy="919480"/>
              </a:xfrm>
              <a:prstGeom prst="rect">
                <a:avLst/>
              </a:prstGeom>
              <a:noFill/>
              <a:ln w="381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2C33BEB8-230A-BD4E-D556-AB9611D3E41F}"/>
                  </a:ext>
                </a:extLst>
              </p:cNvPr>
              <p:cNvSpPr/>
              <p:nvPr/>
            </p:nvSpPr>
            <p:spPr>
              <a:xfrm>
                <a:off x="7475793" y="1137602"/>
                <a:ext cx="763557" cy="929957"/>
              </a:xfrm>
              <a:prstGeom prst="rect">
                <a:avLst/>
              </a:prstGeom>
              <a:noFill/>
              <a:ln w="381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B67C509F-F7DC-417E-390D-35B6F0980E87}"/>
                  </a:ext>
                </a:extLst>
              </p:cNvPr>
              <p:cNvSpPr/>
              <p:nvPr/>
            </p:nvSpPr>
            <p:spPr>
              <a:xfrm>
                <a:off x="9012698" y="2192021"/>
                <a:ext cx="763557" cy="919480"/>
              </a:xfrm>
              <a:prstGeom prst="rect">
                <a:avLst/>
              </a:prstGeom>
              <a:noFill/>
              <a:ln w="381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1F891E29-64B5-4BEF-6800-18562CF3AE3A}"/>
                  </a:ext>
                </a:extLst>
              </p:cNvPr>
              <p:cNvSpPr/>
              <p:nvPr/>
            </p:nvSpPr>
            <p:spPr>
              <a:xfrm>
                <a:off x="11313159" y="1075127"/>
                <a:ext cx="763557" cy="919480"/>
              </a:xfrm>
              <a:prstGeom prst="rect">
                <a:avLst/>
              </a:prstGeom>
              <a:noFill/>
              <a:ln w="381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</p:grpSp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10DE4155-4CD6-EE35-9E26-44A050DD54A5}"/>
                </a:ext>
              </a:extLst>
            </p:cNvPr>
            <p:cNvSpPr/>
            <p:nvPr/>
          </p:nvSpPr>
          <p:spPr>
            <a:xfrm>
              <a:off x="10656379" y="3036449"/>
              <a:ext cx="651515" cy="747302"/>
            </a:xfrm>
            <a:prstGeom prst="rect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22FC59A3-43FF-399C-7711-6AA84A8FA34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PE-GCS KICK-OFF MEETING 2024-202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317018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459FB149-4D4F-7874-F57E-9223994227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44406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9FB149-4D4F-7874-F57E-9223994227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>
            <a:extLst>
              <a:ext uri="{FF2B5EF4-FFF2-40B4-BE49-F238E27FC236}">
                <a16:creationId xmlns:a16="http://schemas.microsoft.com/office/drawing/2014/main" id="{2818F63E-6231-C9F7-F8FD-182929A08B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268" y="311676"/>
            <a:ext cx="10694748" cy="621385"/>
          </a:xfrm>
        </p:spPr>
        <p:txBody>
          <a:bodyPr vert="horz"/>
          <a:lstStyle/>
          <a:p>
            <a:r>
              <a:rPr lang="en-GB" dirty="0"/>
              <a:t>Advertise with SPE-GCS : E-Newsletter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A04A350-872D-6387-07DF-9410870263E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C09934A3-B00F-4AB5-B051-4EF7A8DCEDC1}" type="datetime1">
              <a:rPr lang="en-US" smtClean="0"/>
              <a:t>8/30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4DBED25-9CCC-6581-0F00-D57910067E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PE-GCS KICK-OFF MEETING 2024-2025</a:t>
            </a:r>
            <a:endParaRPr lang="en-US" dirty="0"/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4AE71601-429A-17EC-6D07-EB67557FE839}"/>
              </a:ext>
            </a:extLst>
          </p:cNvPr>
          <p:cNvSpPr>
            <a:spLocks noGrp="1"/>
          </p:cNvSpPr>
          <p:nvPr>
            <p:ph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74895B-1B6E-E28C-90BB-9475A4BB03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30</a:t>
            </a:fld>
            <a:endParaRPr lang="en-US" dirty="0"/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7D7BF723-C99F-8074-50C7-F89BB993C537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9566"/>
          <a:stretch/>
        </p:blipFill>
        <p:spPr>
          <a:xfrm>
            <a:off x="201020" y="1246866"/>
            <a:ext cx="6662057" cy="3839220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E1B8E2DD-EE62-02A8-DAEC-D750EB4F887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097439" y="1193801"/>
            <a:ext cx="4931513" cy="3892286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8425F3BB-4AC8-3D62-F0FD-293A57560287}"/>
              </a:ext>
            </a:extLst>
          </p:cNvPr>
          <p:cNvGrpSpPr/>
          <p:nvPr/>
        </p:nvGrpSpPr>
        <p:grpSpPr>
          <a:xfrm>
            <a:off x="201020" y="5519161"/>
            <a:ext cx="662967" cy="1158923"/>
            <a:chOff x="10435585" y="5481061"/>
            <a:chExt cx="662967" cy="1158923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3C865F74-BCCD-FA83-B1DE-C3824C47C41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r="12493" b="37444"/>
            <a:stretch/>
          </p:blipFill>
          <p:spPr>
            <a:xfrm>
              <a:off x="10435585" y="5737849"/>
              <a:ext cx="660400" cy="902135"/>
            </a:xfrm>
            <a:prstGeom prst="rect">
              <a:avLst/>
            </a:prstGeom>
          </p:spPr>
        </p:pic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A5BE57CD-FC0B-4C25-C095-08422F69044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7141" t="82193" r="5351"/>
            <a:stretch/>
          </p:blipFill>
          <p:spPr>
            <a:xfrm>
              <a:off x="10438152" y="5481061"/>
              <a:ext cx="660400" cy="25678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1465211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51625EBC-2735-C44C-861A-A20DEAE6AA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2211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1625EBC-2735-C44C-861A-A20DEAE6AA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E25B970-0BB3-93ED-E478-CF8D4C4762A5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7E272080-F049-4EB4-B0E8-A2452D73A3CB}" type="datetime1">
              <a:rPr lang="en-US" smtClean="0"/>
              <a:t>8/30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94D0536-9463-EAB2-8CA2-4EF719D5F94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PE-GCS KICK-OFF MEETING 2024-2025</a:t>
            </a:r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97A40D80-E2C2-1ACB-272A-CE8E0C686DC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31</a:t>
            </a:fld>
            <a:endParaRPr lang="en-US" dirty="0"/>
          </a:p>
        </p:txBody>
      </p:sp>
      <p:sp>
        <p:nvSpPr>
          <p:cNvPr id="19" name="Title 9">
            <a:extLst>
              <a:ext uri="{FF2B5EF4-FFF2-40B4-BE49-F238E27FC236}">
                <a16:creationId xmlns:a16="http://schemas.microsoft.com/office/drawing/2014/main" id="{1245E70D-4C99-1515-8D5F-325CFC0E92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0589" y="381000"/>
            <a:ext cx="10676812" cy="636588"/>
          </a:xfrm>
        </p:spPr>
        <p:txBody>
          <a:bodyPr vert="horz"/>
          <a:lstStyle/>
          <a:p>
            <a:r>
              <a:rPr lang="en-GB" dirty="0"/>
              <a:t>Advertise with SPE-GCS Websit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1728FEE-B364-B048-88A4-53B4342EE17E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6955" t="1024" r="20004" b="26190"/>
          <a:stretch/>
        </p:blipFill>
        <p:spPr>
          <a:xfrm>
            <a:off x="6786551" y="1370892"/>
            <a:ext cx="3987801" cy="3717793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D749956F-F72F-083D-084D-54E3F3F1C03D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3500" r="1195" b="37671"/>
          <a:stretch/>
        </p:blipFill>
        <p:spPr>
          <a:xfrm>
            <a:off x="5693833" y="5153940"/>
            <a:ext cx="6358467" cy="72688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06449D5-01FC-7D49-4E10-01B0E698DDC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29131" y="5542199"/>
            <a:ext cx="664522" cy="1158340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74DA2091-BD3B-C2C5-79FE-36B0F2ADF06A}"/>
              </a:ext>
            </a:extLst>
          </p:cNvPr>
          <p:cNvGrpSpPr/>
          <p:nvPr/>
        </p:nvGrpSpPr>
        <p:grpSpPr>
          <a:xfrm>
            <a:off x="134469" y="1743568"/>
            <a:ext cx="6284260" cy="3088407"/>
            <a:chOff x="134469" y="1743569"/>
            <a:chExt cx="6028833" cy="2941230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259589F5-CDF0-23C0-B9DF-5D47DD72B2E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2152" t="26594" r="1933" b="5384"/>
            <a:stretch/>
          </p:blipFill>
          <p:spPr>
            <a:xfrm>
              <a:off x="134470" y="1743569"/>
              <a:ext cx="6028832" cy="2423758"/>
            </a:xfrm>
            <a:prstGeom prst="rect">
              <a:avLst/>
            </a:prstGeom>
            <a:ln w="38100" cap="sq">
              <a:solidFill>
                <a:srgbClr val="000000"/>
              </a:solidFill>
              <a:prstDash val="solid"/>
              <a:miter lim="800000"/>
            </a:ln>
            <a:effectLst>
              <a:outerShdw blurRad="50800" dist="38100" dir="2700000" algn="tl" rotWithShape="0">
                <a:srgbClr val="000000">
                  <a:alpha val="43000"/>
                </a:srgbClr>
              </a:outerShdw>
            </a:effectLst>
          </p:spPr>
        </p:pic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414B4AD3-C615-B7A8-62D0-85888755399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t="61620" r="635"/>
            <a:stretch/>
          </p:blipFill>
          <p:spPr>
            <a:xfrm>
              <a:off x="134469" y="4210576"/>
              <a:ext cx="6028831" cy="474223"/>
            </a:xfrm>
            <a:prstGeom prst="rect">
              <a:avLst/>
            </a:prstGeom>
            <a:ln w="38100" cap="sq">
              <a:solidFill>
                <a:srgbClr val="000000"/>
              </a:solidFill>
              <a:prstDash val="solid"/>
              <a:miter lim="800000"/>
            </a:ln>
            <a:effectLst>
              <a:outerShdw blurRad="50800" dist="38100" dir="2700000" algn="tl" rotWithShape="0">
                <a:srgbClr val="000000">
                  <a:alpha val="43000"/>
                </a:srgbClr>
              </a:outerShdw>
            </a:effectLst>
          </p:spPr>
        </p:pic>
      </p:grpSp>
    </p:spTree>
    <p:extLst>
      <p:ext uri="{BB962C8B-B14F-4D97-AF65-F5344CB8AC3E}">
        <p14:creationId xmlns:p14="http://schemas.microsoft.com/office/powerpoint/2010/main" val="153200329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7241D438-D923-7BCD-0978-35D73C6245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49990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241D438-D923-7BCD-0978-35D73C6245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32" name="Picture 8">
            <a:extLst>
              <a:ext uri="{FF2B5EF4-FFF2-40B4-BE49-F238E27FC236}">
                <a16:creationId xmlns:a16="http://schemas.microsoft.com/office/drawing/2014/main" id="{B27D2F2F-A8BB-48CB-BA08-7DB52B02102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179" r="27500" b="18844"/>
          <a:stretch/>
        </p:blipFill>
        <p:spPr bwMode="auto">
          <a:xfrm>
            <a:off x="7277408" y="1231547"/>
            <a:ext cx="3307886" cy="25314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A975C8E-D448-423E-AD2B-75C61E8F0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0767" y="242734"/>
            <a:ext cx="9779183" cy="737980"/>
          </a:xfrm>
        </p:spPr>
        <p:txBody>
          <a:bodyPr vert="horz" anchor="t"/>
          <a:lstStyle/>
          <a:p>
            <a:r>
              <a:rPr lang="en-US" dirty="0"/>
              <a:t>Scholarship Endowment Fun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A0C2F31-49BF-4EAE-86D6-272FEC5CE3E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9209" y="1231547"/>
            <a:ext cx="6354888" cy="4033377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Local Effort – Lead entirely by the Gulf Coast Sect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Scholarship Program started in 1963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The Fund started in 2015; focused on our industry’s futur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b="1" dirty="0">
                <a:sym typeface="Wingdings" panose="05000000000000000000" pitchFamily="2" charset="2"/>
              </a:rPr>
              <a:t>Goal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000" dirty="0">
                <a:sym typeface="Wingdings" panose="05000000000000000000" pitchFamily="2" charset="2"/>
              </a:rPr>
              <a:t>Promote and make awareness of the SEF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000" dirty="0">
                <a:sym typeface="Wingdings" panose="05000000000000000000" pitchFamily="2" charset="2"/>
              </a:rPr>
              <a:t>Continue building relationship with operators and service companies about the SEF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000" dirty="0">
                <a:sym typeface="Wingdings" panose="05000000000000000000" pitchFamily="2" charset="2"/>
              </a:rPr>
              <a:t>Campaign Donation during certain month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000" dirty="0">
                <a:sym typeface="Wingdings" panose="05000000000000000000" pitchFamily="2" charset="2"/>
              </a:rPr>
              <a:t>Increase number of freshman scholarship recipients (from 9 to 11 for 2024)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C7B9F9C-6350-4835-89D9-CC1644F91F7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9D2BD037-946F-4C2A-82C8-B819709E7C47}" type="datetime1">
              <a:rPr lang="en-US" smtClean="0"/>
              <a:t>8/30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BF446BE-EF38-492C-A3C4-846733CB83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49"/>
            <a:ext cx="4114800" cy="365125"/>
          </a:xfrm>
        </p:spPr>
        <p:txBody>
          <a:bodyPr/>
          <a:lstStyle/>
          <a:p>
            <a:pPr algn="l"/>
            <a:r>
              <a:rPr lang="en-US"/>
              <a:t>SPE-GCS KICK-OFF MEETING 2024-2025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7DD68D6-5342-46A2-AC11-C5A0ADEC19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32</a:t>
            </a:fld>
            <a:endParaRPr lang="en-US" dirty="0"/>
          </a:p>
        </p:txBody>
      </p:sp>
      <p:pic>
        <p:nvPicPr>
          <p:cNvPr id="1026" name="Picture 2" descr="Image">
            <a:extLst>
              <a:ext uri="{FF2B5EF4-FFF2-40B4-BE49-F238E27FC236}">
                <a16:creationId xmlns:a16="http://schemas.microsoft.com/office/drawing/2014/main" id="{138ED07E-6030-41E7-8CD1-E52DED73E56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475"/>
          <a:stretch/>
        </p:blipFill>
        <p:spPr bwMode="auto">
          <a:xfrm>
            <a:off x="7432431" y="3337548"/>
            <a:ext cx="4572297" cy="28299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DBCA15E-63FC-4C28-AC81-B1A9FE44632A}"/>
              </a:ext>
            </a:extLst>
          </p:cNvPr>
          <p:cNvSpPr txBox="1"/>
          <p:nvPr/>
        </p:nvSpPr>
        <p:spPr>
          <a:xfrm>
            <a:off x="7432431" y="6231135"/>
            <a:ext cx="458151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/>
              <a:t>Dr. Aly </a:t>
            </a:r>
            <a:r>
              <a:rPr lang="en-US" sz="1200" i="1" dirty="0" err="1"/>
              <a:t>Daneshy</a:t>
            </a:r>
            <a:r>
              <a:rPr lang="en-US" sz="1200" i="1" dirty="0"/>
              <a:t> giving advice to freshman scholarship recipients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3ADA4ACF-ABCA-489D-B040-46108311D316}"/>
              </a:ext>
            </a:extLst>
          </p:cNvPr>
          <p:cNvGrpSpPr/>
          <p:nvPr/>
        </p:nvGrpSpPr>
        <p:grpSpPr>
          <a:xfrm>
            <a:off x="10649783" y="859521"/>
            <a:ext cx="1542217" cy="1821371"/>
            <a:chOff x="10303212" y="910600"/>
            <a:chExt cx="1542217" cy="1821371"/>
          </a:xfrm>
        </p:grpSpPr>
        <p:pic>
          <p:nvPicPr>
            <p:cNvPr id="12" name="Graphic 11" descr="Graduation cap with solid fill">
              <a:extLst>
                <a:ext uri="{FF2B5EF4-FFF2-40B4-BE49-F238E27FC236}">
                  <a16:creationId xmlns:a16="http://schemas.microsoft.com/office/drawing/2014/main" id="{FA6BE83B-35D8-47F9-A8FD-8EDCB3ABDE0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10536607" y="910600"/>
              <a:ext cx="1005840" cy="1005840"/>
            </a:xfrm>
            <a:prstGeom prst="rect">
              <a:avLst/>
            </a:prstGeom>
          </p:spPr>
        </p:pic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78C405A8-598D-400F-8A50-73F1C3B158E4}"/>
                </a:ext>
              </a:extLst>
            </p:cNvPr>
            <p:cNvSpPr txBox="1"/>
            <p:nvPr/>
          </p:nvSpPr>
          <p:spPr>
            <a:xfrm>
              <a:off x="10303212" y="1716308"/>
              <a:ext cx="1542217" cy="10156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2000" dirty="0"/>
                <a:t>11</a:t>
              </a:r>
            </a:p>
            <a:p>
              <a:pPr algn="ctr"/>
              <a:r>
                <a:rPr lang="en-US" sz="2000" dirty="0"/>
                <a:t>freshman</a:t>
              </a:r>
            </a:p>
            <a:p>
              <a:pPr algn="ctr"/>
              <a:r>
                <a:rPr lang="en-US" sz="2000" dirty="0"/>
                <a:t>scholarship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8699489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790AF8D5-F2AF-E397-CC8F-A553BC3EE61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0AF8D5-F2AF-E397-CC8F-A553BC3EE6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460295B-54B9-4937-90E3-BAB9CE69E30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7109" y="1881154"/>
            <a:ext cx="7472653" cy="2387600"/>
          </a:xfrm>
        </p:spPr>
        <p:txBody>
          <a:bodyPr vert="horz"/>
          <a:lstStyle/>
          <a:p>
            <a:r>
              <a:rPr lang="en-US" dirty="0"/>
              <a:t>SPE-GCS : August’24 Lookback</a:t>
            </a:r>
          </a:p>
        </p:txBody>
      </p:sp>
    </p:spTree>
    <p:extLst>
      <p:ext uri="{BB962C8B-B14F-4D97-AF65-F5344CB8AC3E}">
        <p14:creationId xmlns:p14="http://schemas.microsoft.com/office/powerpoint/2010/main" val="396675265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C9BCE5C-B36A-9861-8902-67C200A133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C9BCE5C-B36A-9861-8902-67C200A133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group of people in a room&#10;&#10;Description automatically generated">
            <a:extLst>
              <a:ext uri="{FF2B5EF4-FFF2-40B4-BE49-F238E27FC236}">
                <a16:creationId xmlns:a16="http://schemas.microsoft.com/office/drawing/2014/main" id="{3E8A5AD2-1B8C-3221-F092-0025EE07FC5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188" y="1330385"/>
            <a:ext cx="5726812" cy="419722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B52037B-4478-0EBF-1BC0-157300E6FFFF}"/>
              </a:ext>
            </a:extLst>
          </p:cNvPr>
          <p:cNvSpPr txBox="1"/>
          <p:nvPr/>
        </p:nvSpPr>
        <p:spPr>
          <a:xfrm>
            <a:off x="805542" y="253691"/>
            <a:ext cx="983597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dirty="0">
                <a:latin typeface="+mj-lt"/>
                <a:ea typeface="+mj-ea"/>
                <a:cs typeface="+mj-cs"/>
              </a:rPr>
              <a:t>9 Aug 2024 – Continuing Education Committee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19694FC7-10DA-E763-74C0-B58C2B7E2BF8}"/>
              </a:ext>
            </a:extLst>
          </p:cNvPr>
          <p:cNvGraphicFramePr>
            <a:graphicFrameLocks noGrp="1"/>
          </p:cNvGraphicFramePr>
          <p:nvPr/>
        </p:nvGraphicFramePr>
        <p:xfrm>
          <a:off x="6400800" y="1742161"/>
          <a:ext cx="5422012" cy="317320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613748">
                  <a:extLst>
                    <a:ext uri="{9D8B030D-6E8A-4147-A177-3AD203B41FA5}">
                      <a16:colId xmlns:a16="http://schemas.microsoft.com/office/drawing/2014/main" val="22111491"/>
                    </a:ext>
                  </a:extLst>
                </a:gridCol>
                <a:gridCol w="3808264">
                  <a:extLst>
                    <a:ext uri="{9D8B030D-6E8A-4147-A177-3AD203B41FA5}">
                      <a16:colId xmlns:a16="http://schemas.microsoft.com/office/drawing/2014/main" val="1283148422"/>
                    </a:ext>
                  </a:extLst>
                </a:gridCol>
              </a:tblGrid>
              <a:tr h="80682"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Speaker: </a:t>
                      </a:r>
                      <a:br>
                        <a:rPr lang="en-US" sz="1400" u="none" strike="noStrike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</a:br>
                      <a:endParaRPr lang="en-US" sz="1400" b="0" i="0" u="none" strike="noStrike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9002" marR="9002" marT="9002" marB="0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u="none" strike="noStrike" dirty="0">
                          <a:effectLst/>
                          <a:latin typeface="+mj-lt"/>
                          <a:cs typeface="Arial" panose="020B0604020202020204" pitchFamily="34" charset="0"/>
                        </a:rPr>
                        <a:t>Steve Schubarth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9002" marR="9002" marT="9002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9601157"/>
                  </a:ext>
                </a:extLst>
              </a:tr>
              <a:tr h="581870"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Event Title: </a:t>
                      </a:r>
                      <a:endParaRPr lang="en-US" sz="1400" b="0" i="0" u="none" strike="noStrike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9002" marR="9002" marT="9002" marB="0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+mj-lt"/>
                          <a:cs typeface="Arial" panose="020B0604020202020204" pitchFamily="34" charset="0"/>
                        </a:rPr>
                        <a:t>Completion and Well Spacing Optimization through Reservoir Characterization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9002" marR="9002" marT="9002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2296801"/>
                  </a:ext>
                </a:extLst>
              </a:tr>
              <a:tr h="581870"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Location: </a:t>
                      </a:r>
                      <a:endParaRPr lang="en-US" sz="1400" b="0" i="0" u="none" strike="noStrike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9002" marR="9002" marT="9002" marB="0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+mj-lt"/>
                          <a:cs typeface="Arial" panose="020B0604020202020204" pitchFamily="34" charset="0"/>
                        </a:rPr>
                        <a:t>Galleria II Building - 18th Floor</a:t>
                      </a:r>
                    </a:p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(sponsored by Cap Gemini)</a:t>
                      </a:r>
                    </a:p>
                  </a:txBody>
                  <a:tcPr marL="9002" marR="9002" marT="9002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408264"/>
                  </a:ext>
                </a:extLst>
              </a:tr>
              <a:tr h="581870"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Sponsors: </a:t>
                      </a:r>
                      <a:endParaRPr lang="en-US" sz="1400" b="0" i="0" u="none" strike="noStrike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9002" marR="9002" marT="9002" marB="0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+mj-lt"/>
                          <a:cs typeface="Arial" panose="020B0604020202020204" pitchFamily="34" charset="0"/>
                        </a:rPr>
                        <a:t>Cap Gemini</a:t>
                      </a:r>
                    </a:p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+mj-lt"/>
                          <a:cs typeface="Arial" panose="020B0604020202020204" pitchFamily="34" charset="0"/>
                        </a:rPr>
                        <a:t>Schubarth Inc &amp; Schubarth Software System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9002" marR="9002" marT="9002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8209155"/>
                  </a:ext>
                </a:extLst>
              </a:tr>
              <a:tr h="296946"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Registrants: </a:t>
                      </a:r>
                      <a:endParaRPr lang="en-US" sz="1400" b="0" i="0" u="none" strike="noStrike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9002" marR="9002" marT="9002" marB="0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+mj-lt"/>
                          <a:cs typeface="Arial" panose="020B0604020202020204" pitchFamily="34" charset="0"/>
                        </a:rPr>
                        <a:t>33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9002" marR="9002" marT="9002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907335"/>
                  </a:ext>
                </a:extLst>
              </a:tr>
              <a:tr h="347750"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Attendees:</a:t>
                      </a:r>
                      <a:endParaRPr lang="en-US" sz="1400" b="0" i="0" u="none" strike="noStrike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9002" marR="9002" marT="9002" marB="0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+mj-lt"/>
                          <a:cs typeface="Arial" panose="020B0604020202020204" pitchFamily="34" charset="0"/>
                        </a:rPr>
                        <a:t>22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9002" marR="9002" marT="9002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6933284"/>
                  </a:ext>
                </a:extLst>
              </a:tr>
              <a:tr h="347176"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Registration page:</a:t>
                      </a:r>
                    </a:p>
                  </a:txBody>
                  <a:tcPr marL="9002" marR="9002" marT="9002" marB="0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https://www.spegcs.org/events/6884/</a:t>
                      </a:r>
                    </a:p>
                  </a:txBody>
                  <a:tcPr marL="9002" marR="9002" marT="9002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0767621"/>
                  </a:ext>
                </a:extLst>
              </a:tr>
            </a:tbl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BEA2A41-9AEB-B61D-16AC-7600CD3C5448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E562C9B-038F-43EA-A4C3-F25C06D0A4B7}" type="datetime1">
              <a:rPr lang="en-US" smtClean="0"/>
              <a:t>8/30/2024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E37C8ED-B16A-F506-02CC-02A9AB517D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PE-GCS KICK-OFF MEETING 2024-2025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C47680-A33B-7115-86F0-2C50A9F50E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04329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B04DFD25-9E31-DA56-A3D4-3D4F93B66B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04DFD25-9E31-DA56-A3D4-3D4F93B66B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19694FC7-10DA-E763-74C0-B58C2B7E2BF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48730300"/>
              </p:ext>
            </p:extLst>
          </p:nvPr>
        </p:nvGraphicFramePr>
        <p:xfrm>
          <a:off x="6499412" y="1387884"/>
          <a:ext cx="5495366" cy="372726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76515">
                  <a:extLst>
                    <a:ext uri="{9D8B030D-6E8A-4147-A177-3AD203B41FA5}">
                      <a16:colId xmlns:a16="http://schemas.microsoft.com/office/drawing/2014/main" val="22111491"/>
                    </a:ext>
                  </a:extLst>
                </a:gridCol>
                <a:gridCol w="4018851">
                  <a:extLst>
                    <a:ext uri="{9D8B030D-6E8A-4147-A177-3AD203B41FA5}">
                      <a16:colId xmlns:a16="http://schemas.microsoft.com/office/drawing/2014/main" val="1283148422"/>
                    </a:ext>
                  </a:extLst>
                </a:gridCol>
              </a:tblGrid>
              <a:tr h="594415"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en-US" sz="1400" u="none" strike="noStrike" kern="1200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Speaker: </a:t>
                      </a:r>
                      <a:br>
                        <a:rPr lang="en-US" sz="1400" u="none" strike="noStrike" kern="1200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</a:br>
                      <a:endParaRPr lang="en-US" sz="1400" u="none" strike="noStrike" kern="12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002" marR="9002" marT="9002" marB="0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Adam </a:t>
                      </a:r>
                      <a:r>
                        <a:rPr lang="en-US" sz="1400" b="1" u="none" strike="noStrike" kern="1200" dirty="0" err="1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Haecker</a:t>
                      </a:r>
                      <a:r>
                        <a:rPr lang="en-US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40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(Milestone Carbon)</a:t>
                      </a:r>
                    </a:p>
                  </a:txBody>
                  <a:tcPr marL="9002" marR="9002" marT="9002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9601157"/>
                  </a:ext>
                </a:extLst>
              </a:tr>
              <a:tr h="594415"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en-US" sz="1400" u="none" strike="noStrike" kern="1200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Event Title: </a:t>
                      </a:r>
                    </a:p>
                  </a:txBody>
                  <a:tcPr marL="9002" marR="9002" marT="9002" marB="0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40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Data Gathering Requirements for Class VI Permit Applications, from a Lone Star Point of View</a:t>
                      </a:r>
                    </a:p>
                  </a:txBody>
                  <a:tcPr marL="9002" marR="9002" marT="9002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2296801"/>
                  </a:ext>
                </a:extLst>
              </a:tr>
              <a:tr h="885483"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en-US" sz="1400" u="none" strike="noStrike" kern="1200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Location: </a:t>
                      </a:r>
                    </a:p>
                  </a:txBody>
                  <a:tcPr marL="9002" marR="9002" marT="9002" marB="0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40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Baker Hughes</a:t>
                      </a:r>
                    </a:p>
                    <a:p>
                      <a:pPr marL="0" algn="l" defTabSz="914400" rtl="0" eaLnBrk="1" fontAlgn="b" latinLnBrk="0" hangingPunct="1"/>
                      <a:r>
                        <a:rPr lang="en-US" sz="140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9110 Grogan's Mill Road</a:t>
                      </a:r>
                    </a:p>
                    <a:p>
                      <a:pPr marL="0" algn="l" defTabSz="914400" rtl="0" eaLnBrk="1" fontAlgn="b" latinLnBrk="0" hangingPunct="1"/>
                      <a:r>
                        <a:rPr lang="en-US" sz="140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The Woodlands, TX 77380</a:t>
                      </a:r>
                    </a:p>
                  </a:txBody>
                  <a:tcPr marL="9002" marR="9002" marT="9002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408264"/>
                  </a:ext>
                </a:extLst>
              </a:tr>
              <a:tr h="646303"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en-US" sz="1400" u="none" strike="noStrike" kern="1200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Sponsors: </a:t>
                      </a:r>
                    </a:p>
                  </a:txBody>
                  <a:tcPr marL="9002" marR="9002" marT="9002" marB="0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40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Baker Hughes</a:t>
                      </a:r>
                    </a:p>
                    <a:p>
                      <a:pPr marL="0" algn="l" defTabSz="914400" rtl="0" eaLnBrk="1" fontAlgn="b" latinLnBrk="0" hangingPunct="1"/>
                      <a:r>
                        <a:rPr lang="en-US" sz="140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WS </a:t>
                      </a:r>
                      <a:r>
                        <a:rPr lang="en-US" sz="1400" u="none" strike="noStrike" kern="1200" dirty="0" err="1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Calfrac</a:t>
                      </a:r>
                      <a:endParaRPr lang="en-US" sz="140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002" marR="9002" marT="9002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8209155"/>
                  </a:ext>
                </a:extLst>
              </a:tr>
              <a:tr h="303348"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en-US" sz="1400" u="none" strike="noStrike" kern="1200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Registrants: </a:t>
                      </a:r>
                    </a:p>
                  </a:txBody>
                  <a:tcPr marL="9002" marR="9002" marT="9002" marB="0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40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24</a:t>
                      </a:r>
                    </a:p>
                  </a:txBody>
                  <a:tcPr marL="9002" marR="9002" marT="9002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907335"/>
                  </a:ext>
                </a:extLst>
              </a:tr>
              <a:tr h="360867"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en-US" sz="1400" u="none" strike="noStrike" kern="1200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Attendees:</a:t>
                      </a:r>
                    </a:p>
                  </a:txBody>
                  <a:tcPr marL="9002" marR="9002" marT="9002" marB="0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40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20</a:t>
                      </a:r>
                    </a:p>
                  </a:txBody>
                  <a:tcPr marL="9002" marR="9002" marT="9002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6933284"/>
                  </a:ext>
                </a:extLst>
              </a:tr>
              <a:tr h="342433"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en-US" sz="1400" u="none" strike="noStrike" kern="1200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Registration page:</a:t>
                      </a:r>
                    </a:p>
                  </a:txBody>
                  <a:tcPr marL="9002" marR="9002" marT="9002" marB="0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40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https://www.spegcs.org/events/6928/</a:t>
                      </a:r>
                    </a:p>
                  </a:txBody>
                  <a:tcPr marL="9002" marR="9002" marT="9002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0767621"/>
                  </a:ext>
                </a:extLst>
              </a:tr>
            </a:tbl>
          </a:graphicData>
        </a:graphic>
      </p:graphicFrame>
      <p:sp>
        <p:nvSpPr>
          <p:cNvPr id="12" name="Title 11">
            <a:extLst>
              <a:ext uri="{FF2B5EF4-FFF2-40B4-BE49-F238E27FC236}">
                <a16:creationId xmlns:a16="http://schemas.microsoft.com/office/drawing/2014/main" id="{E9A701FF-3DFA-3A0A-5BAB-74604073D2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9586" y="372036"/>
            <a:ext cx="9779183" cy="515471"/>
          </a:xfrm>
        </p:spPr>
        <p:txBody>
          <a:bodyPr vert="horz"/>
          <a:lstStyle/>
          <a:p>
            <a:r>
              <a:rPr lang="en-US" sz="3600" dirty="0"/>
              <a:t>15 Aug 2024 – Northside Study Group</a:t>
            </a:r>
            <a:endParaRPr lang="en-GB" sz="3600" dirty="0"/>
          </a:p>
        </p:txBody>
      </p:sp>
      <p:pic>
        <p:nvPicPr>
          <p:cNvPr id="1026" name="Picture 2" descr="No alt text provided for this image">
            <a:extLst>
              <a:ext uri="{FF2B5EF4-FFF2-40B4-BE49-F238E27FC236}">
                <a16:creationId xmlns:a16="http://schemas.microsoft.com/office/drawing/2014/main" id="{6F62908B-F752-D556-7F27-F8AA698941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222" y="1387884"/>
            <a:ext cx="6034372" cy="37272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F05AD4A-C7F4-2DDE-6B54-83162AA2A1B5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A97770C2-F399-436B-8F07-A1CD1FC59674}" type="datetime1">
              <a:rPr lang="en-US" smtClean="0"/>
              <a:t>8/30/2024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E5E213B-319B-8D7E-0365-AB54D818B28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PE-GCS KICK-OFF MEETING 2024-2025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70F3C5B-EB15-C25A-49E0-988B783CC4E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3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0897325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A96F1BA0-76C1-CFE9-57B1-8175E915F70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93102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6F1BA0-76C1-CFE9-57B1-8175E915F7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19694FC7-10DA-E763-74C0-B58C2B7E2BF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78080291"/>
              </p:ext>
            </p:extLst>
          </p:nvPr>
        </p:nvGraphicFramePr>
        <p:xfrm>
          <a:off x="7328085" y="893507"/>
          <a:ext cx="4720480" cy="258869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017320">
                  <a:extLst>
                    <a:ext uri="{9D8B030D-6E8A-4147-A177-3AD203B41FA5}">
                      <a16:colId xmlns:a16="http://schemas.microsoft.com/office/drawing/2014/main" val="22111491"/>
                    </a:ext>
                  </a:extLst>
                </a:gridCol>
                <a:gridCol w="3703160">
                  <a:extLst>
                    <a:ext uri="{9D8B030D-6E8A-4147-A177-3AD203B41FA5}">
                      <a16:colId xmlns:a16="http://schemas.microsoft.com/office/drawing/2014/main" val="1283148422"/>
                    </a:ext>
                  </a:extLst>
                </a:gridCol>
              </a:tblGrid>
              <a:tr h="327361"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peaker: </a:t>
                      </a:r>
                      <a:br>
                        <a:rPr lang="en-US" sz="1400" u="none" strike="noStrike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endParaRPr lang="en-US" sz="1400" b="0" i="0" u="none" strike="noStrike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2" marR="9002" marT="9002" marB="0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ultiple Speaker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2" marR="9002" marT="9002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9601157"/>
                  </a:ext>
                </a:extLst>
              </a:tr>
              <a:tr h="231745"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vent Title: </a:t>
                      </a:r>
                      <a:endParaRPr lang="en-US" sz="1400" b="0" i="0" u="none" strike="noStrike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2" marR="9002" marT="9002" marB="0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dirty="0"/>
                        <a:t>Poker Tournament BD Kick Off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2" marR="9002" marT="9002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2296801"/>
                  </a:ext>
                </a:extLst>
              </a:tr>
              <a:tr h="252129"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cation: </a:t>
                      </a:r>
                      <a:endParaRPr lang="en-US" sz="1400" b="0" i="0" u="none" strike="noStrike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2" marR="9002" marT="9002" marB="0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troleum Club of Houston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2" marR="9002" marT="9002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408264"/>
                  </a:ext>
                </a:extLst>
              </a:tr>
              <a:tr h="421175"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ponsors: </a:t>
                      </a:r>
                      <a:endParaRPr lang="en-US" sz="1400" b="0" i="0" u="none" strike="noStrike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2" marR="9002" marT="9002" marB="0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lifford Chance, Grenadier III, Combo Curve, Haynes Boone, RR&amp;A,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riveda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SCA, the Arias Group</a:t>
                      </a:r>
                    </a:p>
                  </a:txBody>
                  <a:tcPr marL="9002" marR="9002" marT="9002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8209155"/>
                  </a:ext>
                </a:extLst>
              </a:tr>
              <a:tr h="289980"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gistrants: </a:t>
                      </a:r>
                      <a:endParaRPr lang="en-US" sz="1400" b="0" i="0" u="none" strike="noStrike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2" marR="9002" marT="9002" marB="0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5</a:t>
                      </a:r>
                    </a:p>
                  </a:txBody>
                  <a:tcPr marL="9002" marR="9002" marT="9002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907335"/>
                  </a:ext>
                </a:extLst>
              </a:tr>
              <a:tr h="294313"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ttendees:</a:t>
                      </a:r>
                      <a:endParaRPr lang="en-US" sz="1400" b="0" i="0" u="none" strike="noStrike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2" marR="9002" marT="9002" marB="0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0</a:t>
                      </a:r>
                    </a:p>
                  </a:txBody>
                  <a:tcPr marL="9002" marR="9002" marT="9002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6933284"/>
                  </a:ext>
                </a:extLst>
              </a:tr>
              <a:tr h="417092"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gistration page:</a:t>
                      </a:r>
                    </a:p>
                  </a:txBody>
                  <a:tcPr marL="9002" marR="9002" marT="9002" marB="0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ttps://www.spegcs.org/events/6890/</a:t>
                      </a:r>
                    </a:p>
                  </a:txBody>
                  <a:tcPr marL="9002" marR="9002" marT="9002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0767621"/>
                  </a:ext>
                </a:extLst>
              </a:tr>
            </a:tbl>
          </a:graphicData>
        </a:graphic>
      </p:graphicFrame>
      <p:sp>
        <p:nvSpPr>
          <p:cNvPr id="11" name="Title 11">
            <a:extLst>
              <a:ext uri="{FF2B5EF4-FFF2-40B4-BE49-F238E27FC236}">
                <a16:creationId xmlns:a16="http://schemas.microsoft.com/office/drawing/2014/main" id="{E7C2766E-62DF-A778-52AA-BE51F0E39D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1583" y="113367"/>
            <a:ext cx="9779183" cy="573237"/>
          </a:xfrm>
        </p:spPr>
        <p:txBody>
          <a:bodyPr vert="horz"/>
          <a:lstStyle/>
          <a:p>
            <a:r>
              <a:rPr lang="en-US" sz="3600" dirty="0"/>
              <a:t>21 Aug 2024 – Poker Tournament BD Kick Off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8FBF75BD-212F-1317-3097-F734D5779D6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7596" y="891875"/>
            <a:ext cx="3689190" cy="2535494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2ED5CBCC-47B4-D904-E215-78C4BD8264A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74414" y="3593183"/>
            <a:ext cx="5088328" cy="3151449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568778D6-54F1-FCEA-5C4F-ADB6BAE9F5A5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9223" t="5807" r="4270" b="1161"/>
          <a:stretch/>
        </p:blipFill>
        <p:spPr>
          <a:xfrm>
            <a:off x="4007931" y="891875"/>
            <a:ext cx="3119009" cy="2535494"/>
          </a:xfrm>
          <a:prstGeom prst="rect">
            <a:avLst/>
          </a:prstGeom>
        </p:spPr>
      </p:pic>
      <p:pic>
        <p:nvPicPr>
          <p:cNvPr id="26" name="Picture 25" descr="A group of people sitting around a table playing poker&#10;&#10;Description automatically generated">
            <a:extLst>
              <a:ext uri="{FF2B5EF4-FFF2-40B4-BE49-F238E27FC236}">
                <a16:creationId xmlns:a16="http://schemas.microsoft.com/office/drawing/2014/main" id="{953FAEA0-7F74-66BD-EE0C-24D37DE4E893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1667" t="16209" r="881" b="2876"/>
          <a:stretch/>
        </p:blipFill>
        <p:spPr>
          <a:xfrm>
            <a:off x="434717" y="3593184"/>
            <a:ext cx="5060648" cy="3151449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C7254CC-858E-89F4-4C1F-25086EC8E55B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1D079DCC-F5C6-4AA8-A716-23053A986999}" type="datetime1">
              <a:rPr lang="en-US" smtClean="0"/>
              <a:t>8/30/2024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022AF0F-122C-F6B5-B206-709388B227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PE-GCS KICK-OFF MEETING 2024-2025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8B848F4-C9C5-CA18-E91D-4E5021A0FE7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9515279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A96F1BA0-76C1-CFE9-57B1-8175E915F70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6F1BA0-76C1-CFE9-57B1-8175E915F7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19694FC7-10DA-E763-74C0-B58C2B7E2BF8}"/>
              </a:ext>
            </a:extLst>
          </p:cNvPr>
          <p:cNvGraphicFramePr>
            <a:graphicFrameLocks noGrp="1"/>
          </p:cNvGraphicFramePr>
          <p:nvPr/>
        </p:nvGraphicFramePr>
        <p:xfrm>
          <a:off x="6956854" y="1093316"/>
          <a:ext cx="5140655" cy="440148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381210">
                  <a:extLst>
                    <a:ext uri="{9D8B030D-6E8A-4147-A177-3AD203B41FA5}">
                      <a16:colId xmlns:a16="http://schemas.microsoft.com/office/drawing/2014/main" val="22111491"/>
                    </a:ext>
                  </a:extLst>
                </a:gridCol>
                <a:gridCol w="3759445">
                  <a:extLst>
                    <a:ext uri="{9D8B030D-6E8A-4147-A177-3AD203B41FA5}">
                      <a16:colId xmlns:a16="http://schemas.microsoft.com/office/drawing/2014/main" val="1283148422"/>
                    </a:ext>
                  </a:extLst>
                </a:gridCol>
              </a:tblGrid>
              <a:tr h="372405"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peaker: </a:t>
                      </a:r>
                      <a:br>
                        <a:rPr lang="en-US" sz="1400" u="none" strike="noStrike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endParaRPr lang="en-US" sz="1400" b="0" i="0" u="none" strike="noStrike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2" marR="9002" marT="9002" marB="0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ultiple Speaker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2" marR="9002" marT="9002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9601157"/>
                  </a:ext>
                </a:extLst>
              </a:tr>
              <a:tr h="606364"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vent Title: </a:t>
                      </a:r>
                      <a:endParaRPr lang="en-US" sz="1400" b="0" i="0" u="none" strike="noStrike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2" marR="9002" marT="9002" marB="0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nual Symposium: AI Accelerated Physics Based Modelling and its Role in Energy Industry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2" marR="9002" marT="9002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2296801"/>
                  </a:ext>
                </a:extLst>
              </a:tr>
              <a:tr h="413909"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cation: </a:t>
                      </a:r>
                      <a:endParaRPr lang="en-US" sz="1400" b="0" i="0" u="none" strike="noStrike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2" marR="9002" marT="9002" marB="0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LB Q-Auditorium</a:t>
                      </a:r>
                    </a:p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01 Richmond Ave</a:t>
                      </a:r>
                    </a:p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ouston, TX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2" marR="9002" marT="9002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408264"/>
                  </a:ext>
                </a:extLst>
              </a:tr>
              <a:tr h="691423"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ponsors: </a:t>
                      </a:r>
                      <a:endParaRPr lang="en-US" sz="1400" b="0" i="0" u="none" strike="noStrike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2" marR="9002" marT="9002" marB="0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latinum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: Rescale</a:t>
                      </a:r>
                    </a:p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ilver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: Ansys, CPFD, ESSS O&amp;G, ESTECO, Wood, Altair</a:t>
                      </a:r>
                    </a:p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ronze: 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nvergence CFD Software, DS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imulia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Tridiagonal Software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2" marR="9002" marT="9002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8209155"/>
                  </a:ext>
                </a:extLst>
              </a:tr>
              <a:tr h="190050"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gistrants: </a:t>
                      </a:r>
                      <a:endParaRPr lang="en-US" sz="1400" b="0" i="0" u="none" strike="noStrike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2" marR="9002" marT="9002" marB="0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</a:t>
                      </a:r>
                    </a:p>
                  </a:txBody>
                  <a:tcPr marL="9002" marR="9002" marT="9002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907335"/>
                  </a:ext>
                </a:extLst>
              </a:tr>
              <a:tr h="684719"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ttendees:</a:t>
                      </a:r>
                      <a:endParaRPr lang="en-US" sz="1400" b="0" i="0" u="none" strike="noStrike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2" marR="9002" marT="9002" marB="0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 in-person, 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 online</a:t>
                      </a:r>
                    </a:p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 = 80</a:t>
                      </a:r>
                    </a:p>
                  </a:txBody>
                  <a:tcPr marL="9002" marR="9002" marT="9002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6933284"/>
                  </a:ext>
                </a:extLst>
              </a:tr>
              <a:tr h="684719"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gistration page:</a:t>
                      </a:r>
                    </a:p>
                  </a:txBody>
                  <a:tcPr marL="9002" marR="9002" marT="9002" marB="0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ttps://www.spegcs.org/events/6876/</a:t>
                      </a:r>
                    </a:p>
                  </a:txBody>
                  <a:tcPr marL="9002" marR="9002" marT="9002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0767621"/>
                  </a:ext>
                </a:extLst>
              </a:tr>
            </a:tbl>
          </a:graphicData>
        </a:graphic>
      </p:graphicFrame>
      <p:pic>
        <p:nvPicPr>
          <p:cNvPr id="3" name="Picture 2" descr="A group of people standing in a room&#10;&#10;Description automatically generated">
            <a:extLst>
              <a:ext uri="{FF2B5EF4-FFF2-40B4-BE49-F238E27FC236}">
                <a16:creationId xmlns:a16="http://schemas.microsoft.com/office/drawing/2014/main" id="{DEFD93ED-AF58-06D3-B71F-EFD0DA3348F9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825" r="1133" b="29443"/>
          <a:stretch/>
        </p:blipFill>
        <p:spPr>
          <a:xfrm>
            <a:off x="162570" y="1093315"/>
            <a:ext cx="6435453" cy="2265085"/>
          </a:xfrm>
          <a:prstGeom prst="rect">
            <a:avLst/>
          </a:prstGeom>
        </p:spPr>
      </p:pic>
      <p:sp>
        <p:nvSpPr>
          <p:cNvPr id="11" name="Title 11">
            <a:extLst>
              <a:ext uri="{FF2B5EF4-FFF2-40B4-BE49-F238E27FC236}">
                <a16:creationId xmlns:a16="http://schemas.microsoft.com/office/drawing/2014/main" id="{E7C2766E-62DF-A778-52AA-BE51F0E39D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6175" y="217338"/>
            <a:ext cx="9779183" cy="875977"/>
          </a:xfrm>
        </p:spPr>
        <p:txBody>
          <a:bodyPr vert="horz"/>
          <a:lstStyle/>
          <a:p>
            <a:r>
              <a:rPr lang="en-US" sz="3600" dirty="0"/>
              <a:t>22 Aug 2024 – Computational Fluid Dynamics Annual Symposium</a:t>
            </a:r>
          </a:p>
        </p:txBody>
      </p:sp>
      <p:pic>
        <p:nvPicPr>
          <p:cNvPr id="19" name="Picture 18" descr="A group of people sitting in chairs&#10;&#10;Description automatically generated">
            <a:extLst>
              <a:ext uri="{FF2B5EF4-FFF2-40B4-BE49-F238E27FC236}">
                <a16:creationId xmlns:a16="http://schemas.microsoft.com/office/drawing/2014/main" id="{6B1A8900-3945-4475-8ADB-940218BA0E0C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23268" r="13089" b="18301"/>
          <a:stretch/>
        </p:blipFill>
        <p:spPr>
          <a:xfrm>
            <a:off x="221288" y="3563941"/>
            <a:ext cx="6376735" cy="2411506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E17261E-77A6-7EF7-41C9-62B63140CE3B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C98129D-7A85-465C-B499-38DB15C38934}" type="datetime1">
              <a:rPr lang="en-US" smtClean="0"/>
              <a:t>8/30/2024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DBD76AE-2A16-734A-BF27-8401429AB0F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PE-GCS KICK-OFF MEETING 2024-2025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C9286FC-7D4B-8E25-E576-F7C5A5C7A01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3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9222381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F1CE28E8-794B-D4C1-73AD-F236D58B87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1CE28E8-794B-D4C1-73AD-F236D58B87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BAD2928-9720-402F-BC43-9D3339A16F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67492" y="381001"/>
            <a:ext cx="9779183" cy="667592"/>
          </a:xfrm>
        </p:spPr>
        <p:txBody>
          <a:bodyPr vert="horz" anchor="t"/>
          <a:lstStyle/>
          <a:p>
            <a:r>
              <a:rPr lang="en-US" dirty="0"/>
              <a:t>Upcoming Events : September 2024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94CB14C-7D84-44CF-BB1C-4D4AD208DFAF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BFED9FE-A082-4CD7-AAD4-C4B338070DFB}" type="datetime1">
              <a:rPr lang="en-US" smtClean="0"/>
              <a:t>8/30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12C8BCD-CAB9-4D30-8E4D-FCC4D395F8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PE-GCS KICK-OFF MEETING 2024-2025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43741F-2ADF-4FD7-8821-48EDFA7DFE0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38</a:t>
            </a:fld>
            <a:endParaRPr lang="en-US" dirty="0"/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1FE8857B-E929-A9F0-34F0-93C1696F52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66116370"/>
              </p:ext>
            </p:extLst>
          </p:nvPr>
        </p:nvGraphicFramePr>
        <p:xfrm>
          <a:off x="819403" y="1211898"/>
          <a:ext cx="9779182" cy="5264217"/>
        </p:xfrm>
        <a:graphic>
          <a:graphicData uri="http://schemas.openxmlformats.org/drawingml/2006/table">
            <a:tbl>
              <a:tblPr firstRow="1" firstCol="1" bandRow="1"/>
              <a:tblGrid>
                <a:gridCol w="1108009">
                  <a:extLst>
                    <a:ext uri="{9D8B030D-6E8A-4147-A177-3AD203B41FA5}">
                      <a16:colId xmlns:a16="http://schemas.microsoft.com/office/drawing/2014/main" val="3938313577"/>
                    </a:ext>
                  </a:extLst>
                </a:gridCol>
                <a:gridCol w="4324485">
                  <a:extLst>
                    <a:ext uri="{9D8B030D-6E8A-4147-A177-3AD203B41FA5}">
                      <a16:colId xmlns:a16="http://schemas.microsoft.com/office/drawing/2014/main" val="2865397437"/>
                    </a:ext>
                  </a:extLst>
                </a:gridCol>
                <a:gridCol w="2121308">
                  <a:extLst>
                    <a:ext uri="{9D8B030D-6E8A-4147-A177-3AD203B41FA5}">
                      <a16:colId xmlns:a16="http://schemas.microsoft.com/office/drawing/2014/main" val="3611921090"/>
                    </a:ext>
                  </a:extLst>
                </a:gridCol>
                <a:gridCol w="2225380">
                  <a:extLst>
                    <a:ext uri="{9D8B030D-6E8A-4147-A177-3AD203B41FA5}">
                      <a16:colId xmlns:a16="http://schemas.microsoft.com/office/drawing/2014/main" val="1688793298"/>
                    </a:ext>
                  </a:extLst>
                </a:gridCol>
              </a:tblGrid>
              <a:tr h="598832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dirty="0">
                          <a:solidFill>
                            <a:srgbClr val="333333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vent ID</a:t>
                      </a:r>
                      <a:endParaRPr lang="en-US" sz="2400" b="1" dirty="0"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486" marR="57486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dirty="0">
                          <a:solidFill>
                            <a:srgbClr val="333333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vent Title</a:t>
                      </a:r>
                      <a:endParaRPr lang="en-US" sz="2400" b="1" dirty="0"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486" marR="57486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dirty="0">
                          <a:solidFill>
                            <a:srgbClr val="333333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vent Date</a:t>
                      </a:r>
                      <a:endParaRPr lang="en-US" sz="2400" b="1" dirty="0"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486" marR="57486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dirty="0">
                          <a:solidFill>
                            <a:srgbClr val="333333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Group Name</a:t>
                      </a:r>
                      <a:endParaRPr lang="en-US" sz="2400" b="1" dirty="0"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486" marR="57486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7670508"/>
                  </a:ext>
                </a:extLst>
              </a:tr>
              <a:tr h="628773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u="sng" dirty="0">
                          <a:solidFill>
                            <a:srgbClr val="467886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  <a:hlinkClick r:id="rId6"/>
                        </a:rPr>
                        <a:t>6934</a:t>
                      </a: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486" marR="5748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u="sng" dirty="0">
                          <a:solidFill>
                            <a:srgbClr val="467886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  <a:hlinkClick r:id="rId7"/>
                        </a:rPr>
                        <a:t>Chevron Technical Center - Comprehensive Understanding of Proppant Transport for Slickwater Fracturing via CFD Modeling</a:t>
                      </a: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486" marR="5748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333333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ept. 6, 2024, 11:30 a.m.</a:t>
                      </a:r>
                      <a:endParaRPr lang="en-US" sz="1400"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486" marR="5748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u="sng" dirty="0">
                          <a:solidFill>
                            <a:srgbClr val="467886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  <a:hlinkClick r:id="rId8"/>
                        </a:rPr>
                        <a:t>Completions &amp; Production</a:t>
                      </a: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486" marR="5748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7159451"/>
                  </a:ext>
                </a:extLst>
              </a:tr>
              <a:tr h="535937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u="sng">
                          <a:solidFill>
                            <a:srgbClr val="467886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  <a:hlinkClick r:id="rId9"/>
                        </a:rPr>
                        <a:t>6891</a:t>
                      </a:r>
                      <a:endParaRPr lang="en-US" sz="1400"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486" marR="5748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u="sng" dirty="0">
                          <a:solidFill>
                            <a:srgbClr val="467886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  <a:hlinkClick r:id="rId10"/>
                        </a:rPr>
                        <a:t>Northside - DFIT Best Practices and Interpretation Update with Focus on DFIT-Flowback</a:t>
                      </a: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486" marR="5748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333333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ept. 11, 2024, 11:30 a.m.</a:t>
                      </a:r>
                      <a:endParaRPr lang="en-US" sz="1400"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486" marR="5748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u="sng" dirty="0">
                          <a:solidFill>
                            <a:srgbClr val="467886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  <a:hlinkClick r:id="rId11"/>
                        </a:rPr>
                        <a:t>Northside</a:t>
                      </a: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486" marR="5748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62867778"/>
                  </a:ext>
                </a:extLst>
              </a:tr>
              <a:tr h="535937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u="sng" dirty="0">
                          <a:solidFill>
                            <a:srgbClr val="467886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  <a:hlinkClick r:id="rId12"/>
                        </a:rPr>
                        <a:t>6902</a:t>
                      </a: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486" marR="5748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u="sng" dirty="0">
                          <a:solidFill>
                            <a:srgbClr val="467886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  <a:hlinkClick r:id="rId13"/>
                        </a:rPr>
                        <a:t>General Meeting : Future Sources of Domestic Gas to Meet LNG Demand</a:t>
                      </a: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486" marR="5748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333333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ept. 12, 2024, 11:30 a.m.</a:t>
                      </a: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486" marR="5748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u="sng" dirty="0">
                          <a:solidFill>
                            <a:srgbClr val="467886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  <a:hlinkClick r:id="rId14"/>
                        </a:rPr>
                        <a:t>General Meeting</a:t>
                      </a: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486" marR="5748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6190029"/>
                  </a:ext>
                </a:extLst>
              </a:tr>
              <a:tr h="549334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u="sng" dirty="0">
                          <a:solidFill>
                            <a:srgbClr val="467886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  <a:hlinkClick r:id="rId15"/>
                        </a:rPr>
                        <a:t>6930</a:t>
                      </a: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486" marR="5748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u="sng" dirty="0">
                          <a:solidFill>
                            <a:srgbClr val="467886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  <a:hlinkClick r:id="rId16"/>
                        </a:rPr>
                        <a:t>Transforming Energy Systems: Advanced Integrated Approaches for a Green Future [IN-PERSON]</a:t>
                      </a: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486" marR="5748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333333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ept. 12, 2024, noon</a:t>
                      </a: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486" marR="5748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u="sng" dirty="0">
                          <a:solidFill>
                            <a:srgbClr val="467886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  <a:hlinkClick r:id="rId17"/>
                        </a:rPr>
                        <a:t>Special Interest Group</a:t>
                      </a: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486" marR="5748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75720383"/>
                  </a:ext>
                </a:extLst>
              </a:tr>
              <a:tr h="549334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u="sng">
                          <a:solidFill>
                            <a:srgbClr val="467886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  <a:hlinkClick r:id="rId18"/>
                        </a:rPr>
                        <a:t>6936</a:t>
                      </a:r>
                      <a:endParaRPr lang="en-US" sz="1400"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486" marR="5748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u="sng" dirty="0">
                          <a:solidFill>
                            <a:srgbClr val="467886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  <a:hlinkClick r:id="rId19"/>
                        </a:rPr>
                        <a:t>Westside: How Operators and Service Companies Are Weathering a Challenging North American Market</a:t>
                      </a: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486" marR="5748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333333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ept. 18, 2024, 11:30 a.m.</a:t>
                      </a: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486" marR="5748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u="sng" dirty="0">
                          <a:solidFill>
                            <a:srgbClr val="467886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  <a:hlinkClick r:id="rId20"/>
                        </a:rPr>
                        <a:t>Westside</a:t>
                      </a: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486" marR="5748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1191663"/>
                  </a:ext>
                </a:extLst>
              </a:tr>
              <a:tr h="347437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  <a:hlinkClick r:id="rId21"/>
                        </a:rPr>
                        <a:t>6953</a:t>
                      </a:r>
                      <a:endParaRPr lang="en-US" sz="1200" dirty="0"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486" marR="5748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21"/>
                        </a:rPr>
                        <a:t>Permian Panel</a:t>
                      </a:r>
                      <a:endParaRPr lang="en-US" sz="1200" dirty="0"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486" marR="5748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kern="1200" dirty="0">
                          <a:solidFill>
                            <a:srgbClr val="333333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ept. 18, 2024, 5 p.m. </a:t>
                      </a:r>
                      <a:endParaRPr lang="en-US" sz="1200" dirty="0"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486" marR="5748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22"/>
                        </a:rPr>
                        <a:t>Business Development</a:t>
                      </a:r>
                      <a:endParaRPr lang="en-US" sz="1200" b="0" i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US" sz="12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486" marR="5748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8914607"/>
                  </a:ext>
                </a:extLst>
              </a:tr>
              <a:tr h="658715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u="sng" dirty="0">
                          <a:solidFill>
                            <a:srgbClr val="467886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  <a:hlinkClick r:id="rId23"/>
                        </a:rPr>
                        <a:t>6951</a:t>
                      </a: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486" marR="5748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u="sng" dirty="0">
                          <a:solidFill>
                            <a:srgbClr val="467886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  <a:hlinkClick r:id="rId24"/>
                        </a:rPr>
                        <a:t>Section-Based Data Analytics to Optimize Unconventional Development and Completions</a:t>
                      </a:r>
                      <a:endParaRPr lang="en-US" sz="1200" u="sng" dirty="0">
                        <a:solidFill>
                          <a:srgbClr val="467886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486" marR="5748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333333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ept. 19, 2024, 11 a.m.</a:t>
                      </a: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486" marR="5748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u="sng" dirty="0">
                          <a:solidFill>
                            <a:srgbClr val="467886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  <a:hlinkClick r:id="rId25"/>
                        </a:rPr>
                        <a:t>Reservoir</a:t>
                      </a:r>
                      <a:endParaRPr lang="en-US" sz="1200" u="sng" dirty="0">
                        <a:solidFill>
                          <a:srgbClr val="467886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u="sng" dirty="0">
                        <a:solidFill>
                          <a:srgbClr val="467886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486" marR="57486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9600739"/>
                  </a:ext>
                </a:extLst>
              </a:tr>
              <a:tr h="658715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  <a:hlinkClick r:id="rId26"/>
                        </a:rPr>
                        <a:t>6916</a:t>
                      </a:r>
                      <a:endParaRPr lang="en-US" sz="1200" dirty="0"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486" marR="5748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26"/>
                        </a:rPr>
                        <a:t>SPE-GCS Monthly Board of Directors Meeting</a:t>
                      </a:r>
                      <a:endParaRPr lang="en-US" sz="1200" dirty="0"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486" marR="5748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kern="1200" dirty="0">
                          <a:solidFill>
                            <a:srgbClr val="333333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ept. 20, 2024, 10 a.m. </a:t>
                      </a: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486" marR="5748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27"/>
                        </a:rPr>
                        <a:t>Board of Directors</a:t>
                      </a:r>
                      <a:endParaRPr lang="en-US" sz="1200" dirty="0"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486" marR="5748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7506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2338499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9F9598C-DAA1-4973-97A2-EB1E17FD54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14F879-D1BB-4B4D-8301-0FCCA6BB67F4}" type="slidenum">
              <a:rPr lang="en-US" smtClean="0"/>
              <a:t>39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14FC349-D26F-429B-BB9A-018E566DCA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 descr="A picture containing text&#10;&#10;Description automatically generated">
            <a:extLst>
              <a:ext uri="{FF2B5EF4-FFF2-40B4-BE49-F238E27FC236}">
                <a16:creationId xmlns:a16="http://schemas.microsoft.com/office/drawing/2014/main" id="{86F02A75-8836-44DA-9096-822E23DDDDA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5180"/>
            <a:ext cx="12192000" cy="688318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4AF37EE6-DF3B-6A10-F653-FCC3DF73BFF1}"/>
              </a:ext>
            </a:extLst>
          </p:cNvPr>
          <p:cNvSpPr/>
          <p:nvPr/>
        </p:nvSpPr>
        <p:spPr>
          <a:xfrm>
            <a:off x="7410091" y="5723467"/>
            <a:ext cx="4524817" cy="804333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https://www.spegcs.org/forms/volunteer-spe-gcs/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CCFFD97-1A20-D5AA-CECC-0416722D723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00828" y="4928944"/>
            <a:ext cx="1855547" cy="1855547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FAA97F84-6C4D-104C-419E-3C2520DF2682}"/>
              </a:ext>
            </a:extLst>
          </p:cNvPr>
          <p:cNvSpPr/>
          <p:nvPr/>
        </p:nvSpPr>
        <p:spPr>
          <a:xfrm>
            <a:off x="4781909" y="4660003"/>
            <a:ext cx="1493384" cy="2689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Scan Me 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F83F83-2274-F27A-B61C-AF956F20ED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8D0FBE-8096-40D9-BAD4-DD27C40E13AB}" type="datetime1">
              <a:rPr lang="en-US" smtClean="0"/>
              <a:t>8/30/2024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49149C3D-7C20-3530-026D-ACC8265725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PE-GCS KICK-OFF MEETING 2024-2025</a:t>
            </a:r>
          </a:p>
        </p:txBody>
      </p:sp>
    </p:spTree>
    <p:extLst>
      <p:ext uri="{BB962C8B-B14F-4D97-AF65-F5344CB8AC3E}">
        <p14:creationId xmlns:p14="http://schemas.microsoft.com/office/powerpoint/2010/main" val="129520483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53873DF-9934-4037-ABFF-B768559AC6E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211791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53873DF-9934-4037-ABFF-B768559AC6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6077CB0-00ED-4549-BDBB-20B2DB8B5B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4005" y="440599"/>
            <a:ext cx="10169025" cy="650724"/>
          </a:xfrm>
        </p:spPr>
        <p:txBody>
          <a:bodyPr vert="horz">
            <a:noAutofit/>
          </a:bodyPr>
          <a:lstStyle/>
          <a:p>
            <a:r>
              <a:rPr lang="en-GB" sz="3500" dirty="0"/>
              <a:t>Diversity, Equity and Inclusion : What's in a Name ? 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CC4192C-4EA9-45BA-942A-0E181AEB17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8236" y="1361671"/>
            <a:ext cx="7111071" cy="5189383"/>
          </a:xfrm>
        </p:spPr>
        <p:txBody>
          <a:bodyPr>
            <a:normAutofit/>
          </a:bodyPr>
          <a:lstStyle/>
          <a:p>
            <a:pPr marL="0" indent="0">
              <a:lnSpc>
                <a:spcPct val="120000"/>
              </a:lnSpc>
              <a:spcBef>
                <a:spcPts val="600"/>
              </a:spcBef>
              <a:buNone/>
            </a:pPr>
            <a:r>
              <a:rPr lang="en-US" sz="1600" b="1" dirty="0">
                <a:solidFill>
                  <a:srgbClr val="000000"/>
                </a:solidFill>
              </a:rPr>
              <a:t>N</a:t>
            </a:r>
            <a:r>
              <a:rPr lang="en-US" sz="1600" b="1" i="0" dirty="0">
                <a:solidFill>
                  <a:srgbClr val="000000"/>
                </a:solidFill>
                <a:effectLst/>
              </a:rPr>
              <a:t>ame-based discrimination is deep rooted and persisting in the job market. </a:t>
            </a:r>
            <a:endParaRPr lang="en-US" sz="1600" b="0" i="0" dirty="0">
              <a:solidFill>
                <a:srgbClr val="000000"/>
              </a:solidFill>
              <a:effectLst/>
            </a:endParaRPr>
          </a:p>
          <a:p>
            <a:pPr marL="0" indent="0" algn="l" fontAlgn="auto">
              <a:lnSpc>
                <a:spcPct val="120000"/>
              </a:lnSpc>
              <a:spcBef>
                <a:spcPts val="600"/>
              </a:spcBef>
              <a:buNone/>
            </a:pPr>
            <a:r>
              <a:rPr lang="en-US" sz="1600" b="0" i="0" dirty="0">
                <a:effectLst/>
              </a:rPr>
              <a:t>Few Actions that can help increase Inclusion: </a:t>
            </a:r>
          </a:p>
          <a:p>
            <a:pPr fontAlgn="auto">
              <a:lnSpc>
                <a:spcPct val="120000"/>
              </a:lnSpc>
              <a:spcBef>
                <a:spcPts val="600"/>
              </a:spcBef>
              <a:buFont typeface="+mj-lt"/>
              <a:buAutoNum type="arabicPeriod"/>
            </a:pPr>
            <a:r>
              <a:rPr lang="en-US" sz="1600" b="1" dirty="0">
                <a:effectLst/>
              </a:rPr>
              <a:t>Do clarify: </a:t>
            </a:r>
            <a:r>
              <a:rPr lang="en-US" sz="1600" dirty="0">
                <a:effectLst/>
              </a:rPr>
              <a:t>Ask for help directly. </a:t>
            </a:r>
            <a:r>
              <a:rPr lang="en-US" sz="1600" i="1" dirty="0">
                <a:effectLst/>
              </a:rPr>
              <a:t>“Can you help me say your name correctly?”</a:t>
            </a:r>
            <a:endParaRPr lang="en-US" sz="1600" dirty="0">
              <a:effectLst/>
            </a:endParaRPr>
          </a:p>
          <a:p>
            <a:pPr fontAlgn="auto">
              <a:lnSpc>
                <a:spcPct val="120000"/>
              </a:lnSpc>
              <a:spcBef>
                <a:spcPts val="600"/>
              </a:spcBef>
              <a:buFont typeface="+mj-lt"/>
              <a:buAutoNum type="arabicPeriod"/>
            </a:pPr>
            <a:r>
              <a:rPr lang="en-US" sz="1600" b="1" dirty="0">
                <a:effectLst/>
              </a:rPr>
              <a:t>Do practice: </a:t>
            </a:r>
            <a:r>
              <a:rPr lang="en-US" sz="1600" dirty="0">
                <a:effectLst/>
              </a:rPr>
              <a:t>Before proceeding, say it in your mind 2-3 times (like memorizing). It helps.</a:t>
            </a:r>
          </a:p>
          <a:p>
            <a:pPr fontAlgn="auto">
              <a:lnSpc>
                <a:spcPct val="120000"/>
              </a:lnSpc>
              <a:spcBef>
                <a:spcPts val="600"/>
              </a:spcBef>
              <a:buFont typeface="+mj-lt"/>
              <a:buAutoNum type="arabicPeriod"/>
            </a:pPr>
            <a:r>
              <a:rPr lang="en-US" sz="1600" b="1" dirty="0">
                <a:effectLst/>
              </a:rPr>
              <a:t>Do double-check: </a:t>
            </a:r>
            <a:r>
              <a:rPr lang="en-US" sz="1600" dirty="0">
                <a:effectLst/>
              </a:rPr>
              <a:t>When writing emails, slides or documents, double-check names. There is </a:t>
            </a:r>
            <a:r>
              <a:rPr lang="en-US" sz="1600" b="1" dirty="0">
                <a:effectLst/>
              </a:rPr>
              <a:t>no excuse </a:t>
            </a:r>
            <a:r>
              <a:rPr lang="en-US" sz="1600" dirty="0">
                <a:effectLst/>
              </a:rPr>
              <a:t>to get someone’s name wrong in written form when you have seen it.</a:t>
            </a:r>
          </a:p>
          <a:p>
            <a:pPr fontAlgn="auto">
              <a:lnSpc>
                <a:spcPct val="120000"/>
              </a:lnSpc>
              <a:spcBef>
                <a:spcPts val="600"/>
              </a:spcBef>
              <a:buFont typeface="+mj-lt"/>
              <a:buAutoNum type="arabicPeriod"/>
            </a:pPr>
            <a:r>
              <a:rPr lang="en-US" sz="1600" b="1" dirty="0">
                <a:effectLst/>
              </a:rPr>
              <a:t>Be curious:</a:t>
            </a:r>
            <a:r>
              <a:rPr lang="en-US" sz="1600" dirty="0">
                <a:effectLst/>
              </a:rPr>
              <a:t> Use social settings as a safe space to practice names (with respect). Genuinely ask people about their name and try to get it right. </a:t>
            </a:r>
          </a:p>
          <a:p>
            <a:pPr fontAlgn="auto">
              <a:lnSpc>
                <a:spcPct val="120000"/>
              </a:lnSpc>
              <a:spcBef>
                <a:spcPts val="600"/>
              </a:spcBef>
              <a:buFont typeface="+mj-lt"/>
              <a:buAutoNum type="arabicPeriod"/>
            </a:pPr>
            <a:r>
              <a:rPr lang="en-US" sz="1600" b="1" dirty="0">
                <a:effectLst/>
              </a:rPr>
              <a:t>Do not judge: </a:t>
            </a:r>
            <a:r>
              <a:rPr lang="en-US" sz="1600" dirty="0">
                <a:effectLst/>
              </a:rPr>
              <a:t>Please do not judge someone’s name for being too hard, too long, too masculine, or too feminine, or what it sounds like.</a:t>
            </a:r>
          </a:p>
          <a:p>
            <a:pPr fontAlgn="auto">
              <a:lnSpc>
                <a:spcPct val="120000"/>
              </a:lnSpc>
              <a:spcBef>
                <a:spcPts val="600"/>
              </a:spcBef>
              <a:buFont typeface="+mj-lt"/>
              <a:buAutoNum type="arabicPeriod"/>
            </a:pPr>
            <a:r>
              <a:rPr lang="en-US" sz="1600" b="1" dirty="0">
                <a:effectLst/>
              </a:rPr>
              <a:t>Respect choices: </a:t>
            </a:r>
            <a:r>
              <a:rPr lang="en-US" sz="1600" dirty="0">
                <a:effectLst/>
              </a:rPr>
              <a:t>If a colleague chooses to use an alternate or a nickname or uses a short name, then it’s fine but otherwise use their full name. </a:t>
            </a:r>
            <a:endParaRPr lang="en-GB" sz="16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D93BEFB-3A28-9542-5D8D-CC67C265C5F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89421" y="4325152"/>
            <a:ext cx="4230811" cy="212705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04B8FC1A-54CA-287C-581C-8FD30A1C247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689421" y="1469323"/>
            <a:ext cx="4230811" cy="2383395"/>
          </a:xfrm>
          <a:prstGeom prst="rect">
            <a:avLst/>
          </a:prstGeom>
        </p:spPr>
      </p:pic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B1392D8-DEBE-15B6-2189-36EC2FF405B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935047C6-9C98-45D1-B938-D6118FCCAEBD}" type="datetime1">
              <a:rPr lang="en-US" smtClean="0"/>
              <a:t>8/30/2024</a:t>
            </a:fld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40815E7-AF8A-FF07-167F-65DA582C6B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35EDE7F5-AB5F-6C8E-287E-DB692BE7CB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PE-GCS KICK-OFF MEETING 2024-202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71141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FAE308-3076-43DB-B834-DA0B0AE19AF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67494" y="1122363"/>
            <a:ext cx="6220278" cy="2387600"/>
          </a:xfrm>
        </p:spPr>
        <p:txBody>
          <a:bodyPr/>
          <a:lstStyle/>
          <a:p>
            <a:r>
              <a:rPr lang="en-US" dirty="0"/>
              <a:t>Thank you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ABC2CE0-8806-4B2A-A10A-32984D31743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67493" y="3602038"/>
            <a:ext cx="6220277" cy="2780101"/>
          </a:xfrm>
        </p:spPr>
        <p:txBody>
          <a:bodyPr>
            <a:noAutofit/>
          </a:bodyPr>
          <a:lstStyle/>
          <a:p>
            <a:r>
              <a:rPr lang="en-US" sz="1800" dirty="0"/>
              <a:t>Abhi Kohli</a:t>
            </a:r>
          </a:p>
          <a:p>
            <a:r>
              <a:rPr lang="en-US" sz="1800" dirty="0"/>
              <a:t>Shell</a:t>
            </a:r>
          </a:p>
          <a:p>
            <a:r>
              <a:rPr lang="en-US" sz="1800" u="sng" dirty="0">
                <a:solidFill>
                  <a:srgbClr val="0563C1"/>
                </a:solidFill>
                <a:effectLst/>
                <a:ea typeface="Calibri" panose="020F0502020204030204" pitchFamily="34" charset="0"/>
                <a:hlinkClick r:id="rId2"/>
              </a:rPr>
              <a:t>Abhinandan.Kohli@shell.com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92618457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790AF8D5-F2AF-E397-CC8F-A553BC3EE61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97908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0AF8D5-F2AF-E397-CC8F-A553BC3EE6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460295B-54B9-4937-90E3-BAB9CE69E30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94961" y="1080566"/>
            <a:ext cx="6245912" cy="2387600"/>
          </a:xfrm>
        </p:spPr>
        <p:txBody>
          <a:bodyPr vert="horz"/>
          <a:lstStyle/>
          <a:p>
            <a:r>
              <a:rPr lang="en-US" dirty="0"/>
              <a:t>SPE Gulf Coast Section Overview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51A6D85-3837-435F-A342-5A3F98172B1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94961" y="3539075"/>
            <a:ext cx="6245912" cy="1406101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2024-202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7784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533D4C4-9F6F-4C6E-A347-74EE09E75C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14F879-D1BB-4B4D-8301-0FCCA6BB67F4}" type="slidenum">
              <a:rPr lang="en-US" smtClean="0"/>
              <a:t>6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C3CC70E-6900-40EF-8CFE-4C0B0A1850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0" name="Content Placeholder 9" descr="A picture containing text, sign, screenshot&#10;&#10;Description automatically generated">
            <a:extLst>
              <a:ext uri="{FF2B5EF4-FFF2-40B4-BE49-F238E27FC236}">
                <a16:creationId xmlns:a16="http://schemas.microsoft.com/office/drawing/2014/main" id="{E69EE95A-571D-453C-A326-86D5DC4A555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449" y="-9085"/>
            <a:ext cx="12310659" cy="6885370"/>
          </a:xfr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12F30A55-8C77-E5E2-25D3-3D83B62B88BC}"/>
              </a:ext>
            </a:extLst>
          </p:cNvPr>
          <p:cNvSpPr/>
          <p:nvPr/>
        </p:nvSpPr>
        <p:spPr>
          <a:xfrm>
            <a:off x="3021106" y="553787"/>
            <a:ext cx="6813178" cy="564465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4400" b="1" dirty="0">
                <a:solidFill>
                  <a:srgbClr val="0070C0"/>
                </a:solidFill>
                <a:latin typeface="Amasis MT Pro Black" panose="02040A04050005020304" pitchFamily="18" charset="0"/>
              </a:rPr>
              <a:t>SPE GCS MEMBERSHIP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ABB793E-96A6-D767-B2B8-8E575E0BAB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B46A85-0002-4A5D-8F2C-86FD30912F4E}" type="datetime1">
              <a:rPr lang="en-US" smtClean="0"/>
              <a:t>8/30/2024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BA275D2-746F-36AD-52C8-FD845A612A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PE-GCS KICK-OFF MEETING 2024-202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752643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2B4358D-2B08-DF19-7CDC-3A2B5F78912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827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B4358D-2B08-DF19-7CDC-3A2B5F7891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3" name="Google Shape;323;g2eff8207cfc_1_57"/>
          <p:cNvSpPr txBox="1">
            <a:spLocks noGrp="1"/>
          </p:cNvSpPr>
          <p:nvPr>
            <p:ph type="title"/>
          </p:nvPr>
        </p:nvSpPr>
        <p:spPr>
          <a:xfrm>
            <a:off x="941341" y="447523"/>
            <a:ext cx="9779183" cy="866075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rm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 dirty="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rPr>
              <a:t>2023 - 2024 Recap</a:t>
            </a:r>
            <a:endParaRPr dirty="0"/>
          </a:p>
        </p:txBody>
      </p:sp>
      <p:pic>
        <p:nvPicPr>
          <p:cNvPr id="324" name="Google Shape;324;g2eff8207cfc_1_57"/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327350" y="3857625"/>
            <a:ext cx="4114800" cy="3000375"/>
          </a:xfrm>
          <a:prstGeom prst="rect">
            <a:avLst/>
          </a:prstGeom>
          <a:noFill/>
          <a:ln>
            <a:noFill/>
          </a:ln>
        </p:spPr>
      </p:pic>
      <p:pic>
        <p:nvPicPr>
          <p:cNvPr id="325" name="Google Shape;325;g2eff8207cfc_1_57"/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641925" y="1857578"/>
            <a:ext cx="1123950" cy="1990725"/>
          </a:xfrm>
          <a:prstGeom prst="rect">
            <a:avLst/>
          </a:prstGeom>
          <a:noFill/>
          <a:ln>
            <a:noFill/>
          </a:ln>
        </p:spPr>
      </p:pic>
      <p:pic>
        <p:nvPicPr>
          <p:cNvPr id="326" name="Google Shape;326;g2eff8207cfc_1_57"/>
          <p:cNvPicPr preferRelativeResize="0"/>
          <p:nvPr/>
        </p:nvPicPr>
        <p:blipFill>
          <a:blip r:embed="rId8">
            <a:alphaModFix/>
          </a:blip>
          <a:stretch>
            <a:fillRect/>
          </a:stretch>
        </p:blipFill>
        <p:spPr>
          <a:xfrm>
            <a:off x="3267319" y="1882956"/>
            <a:ext cx="1344175" cy="1587800"/>
          </a:xfrm>
          <a:prstGeom prst="rect">
            <a:avLst/>
          </a:prstGeom>
          <a:noFill/>
          <a:ln>
            <a:noFill/>
          </a:ln>
        </p:spPr>
      </p:pic>
      <p:pic>
        <p:nvPicPr>
          <p:cNvPr id="327" name="Google Shape;327;g2eff8207cfc_1_57"/>
          <p:cNvPicPr preferRelativeResize="0"/>
          <p:nvPr/>
        </p:nvPicPr>
        <p:blipFill>
          <a:blip r:embed="rId9">
            <a:alphaModFix/>
          </a:blip>
          <a:stretch>
            <a:fillRect/>
          </a:stretch>
        </p:blipFill>
        <p:spPr>
          <a:xfrm>
            <a:off x="5429475" y="1857578"/>
            <a:ext cx="2225425" cy="2233575"/>
          </a:xfrm>
          <a:prstGeom prst="rect">
            <a:avLst/>
          </a:prstGeom>
          <a:noFill/>
          <a:ln>
            <a:noFill/>
          </a:ln>
        </p:spPr>
      </p:pic>
      <p:pic>
        <p:nvPicPr>
          <p:cNvPr id="328" name="Google Shape;328;g2eff8207cfc_1_57"/>
          <p:cNvPicPr preferRelativeResize="0"/>
          <p:nvPr/>
        </p:nvPicPr>
        <p:blipFill>
          <a:blip r:embed="rId10">
            <a:alphaModFix/>
          </a:blip>
          <a:stretch>
            <a:fillRect/>
          </a:stretch>
        </p:blipFill>
        <p:spPr>
          <a:xfrm>
            <a:off x="8585078" y="1889801"/>
            <a:ext cx="1293247" cy="1450800"/>
          </a:xfrm>
          <a:prstGeom prst="rect">
            <a:avLst/>
          </a:prstGeom>
          <a:noFill/>
          <a:ln>
            <a:noFill/>
          </a:ln>
        </p:spPr>
      </p:pic>
      <p:pic>
        <p:nvPicPr>
          <p:cNvPr id="329" name="Google Shape;329;g2eff8207cfc_1_57"/>
          <p:cNvPicPr preferRelativeResize="0"/>
          <p:nvPr/>
        </p:nvPicPr>
        <p:blipFill>
          <a:blip r:embed="rId11">
            <a:alphaModFix/>
          </a:blip>
          <a:stretch>
            <a:fillRect/>
          </a:stretch>
        </p:blipFill>
        <p:spPr>
          <a:xfrm>
            <a:off x="4872775" y="4275775"/>
            <a:ext cx="1600200" cy="1981200"/>
          </a:xfrm>
          <a:prstGeom prst="rect">
            <a:avLst/>
          </a:prstGeom>
          <a:noFill/>
          <a:ln>
            <a:noFill/>
          </a:ln>
        </p:spPr>
      </p:pic>
      <p:pic>
        <p:nvPicPr>
          <p:cNvPr id="330" name="Google Shape;330;g2eff8207cfc_1_57"/>
          <p:cNvPicPr preferRelativeResize="0"/>
          <p:nvPr/>
        </p:nvPicPr>
        <p:blipFill>
          <a:blip r:embed="rId12">
            <a:alphaModFix/>
          </a:blip>
          <a:stretch>
            <a:fillRect/>
          </a:stretch>
        </p:blipFill>
        <p:spPr>
          <a:xfrm>
            <a:off x="7425131" y="3916804"/>
            <a:ext cx="2095500" cy="1990725"/>
          </a:xfrm>
          <a:prstGeom prst="rect">
            <a:avLst/>
          </a:prstGeom>
          <a:noFill/>
          <a:ln>
            <a:noFill/>
          </a:ln>
        </p:spPr>
      </p:pic>
      <p:pic>
        <p:nvPicPr>
          <p:cNvPr id="331" name="Google Shape;331;g2eff8207cfc_1_57"/>
          <p:cNvPicPr preferRelativeResize="0"/>
          <p:nvPr/>
        </p:nvPicPr>
        <p:blipFill>
          <a:blip r:embed="rId13">
            <a:alphaModFix/>
          </a:blip>
          <a:stretch>
            <a:fillRect/>
          </a:stretch>
        </p:blipFill>
        <p:spPr>
          <a:xfrm>
            <a:off x="10054900" y="3848303"/>
            <a:ext cx="1809750" cy="2000250"/>
          </a:xfrm>
          <a:prstGeom prst="rect">
            <a:avLst/>
          </a:prstGeom>
          <a:noFill/>
          <a:ln>
            <a:noFill/>
          </a:ln>
        </p:spPr>
      </p:pic>
      <p:pic>
        <p:nvPicPr>
          <p:cNvPr id="332" name="Google Shape;332;g2eff8207cfc_1_57"/>
          <p:cNvPicPr preferRelativeResize="0"/>
          <p:nvPr/>
        </p:nvPicPr>
        <p:blipFill>
          <a:blip r:embed="rId14">
            <a:alphaModFix/>
          </a:blip>
          <a:stretch>
            <a:fillRect/>
          </a:stretch>
        </p:blipFill>
        <p:spPr>
          <a:xfrm>
            <a:off x="10524103" y="2413219"/>
            <a:ext cx="1157634" cy="679605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14A222F-9DC3-A614-D55B-A26B66A718E9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8188AA4E-C62D-4283-B305-8A96223FD841}" type="datetime1">
              <a:rPr lang="en-US" smtClean="0"/>
              <a:t>8/30/2024</a:t>
            </a:fld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94DBD71-9C6D-6DC4-85BB-B1BC6A7FF3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57EA0BD-C7FF-38D2-1ED7-E278A58F0EC9}"/>
              </a:ext>
            </a:extLst>
          </p:cNvPr>
          <p:cNvPicPr>
            <a:picLocks noChangeAspect="1"/>
          </p:cNvPicPr>
          <p:nvPr/>
        </p:nvPicPr>
        <p:blipFill rotWithShape="1">
          <a:blip r:embed="rId15"/>
          <a:srcRect r="-11421" b="36638"/>
          <a:stretch/>
        </p:blipFill>
        <p:spPr>
          <a:xfrm>
            <a:off x="10667748" y="2069077"/>
            <a:ext cx="650752" cy="410493"/>
          </a:xfrm>
          <a:prstGeom prst="rect">
            <a:avLst/>
          </a:prstGeom>
        </p:spPr>
      </p:pic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0207CE7-180D-C35B-0A5D-E1D4F343720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PE-GCS KICK-OFF MEETING 2024-2025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5AF1FF3E-2882-7CF6-2239-94EFF5FA1F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07261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0" imgH="350" progId="TCLayout.ActiveDocument.1">
                  <p:embed/>
                </p:oleObj>
              </mc:Choice>
              <mc:Fallback>
                <p:oleObj name="think-cell Slide" r:id="rId3" imgW="350" imgH="350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AF1FF3E-2882-7CF6-2239-94EFF5FA1F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696FA5D-B200-4D38-96E1-BDD0E93EC8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t"/>
          <a:lstStyle/>
          <a:p>
            <a:pPr algn="ctr"/>
            <a:r>
              <a:rPr lang="en-US" sz="4000" dirty="0"/>
              <a:t>Thank you Sponsors and Venue Partners</a:t>
            </a:r>
          </a:p>
        </p:txBody>
      </p:sp>
      <p:sp>
        <p:nvSpPr>
          <p:cNvPr id="16" name="Content Placeholder 12">
            <a:extLst>
              <a:ext uri="{FF2B5EF4-FFF2-40B4-BE49-F238E27FC236}">
                <a16:creationId xmlns:a16="http://schemas.microsoft.com/office/drawing/2014/main" id="{32982CA9-EB81-44B5-9308-33DADE87E26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ctr"/>
            <a:r>
              <a:rPr lang="en-US" b="1" dirty="0">
                <a:solidFill>
                  <a:schemeClr val="accent1"/>
                </a:solidFill>
              </a:rPr>
              <a:t>Venue Partner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56FD3CC-4AEF-4952-B86E-381C9D0B123B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B63B8442-7A58-43C6-B805-A18D28DE148E}" type="datetime1">
              <a:rPr lang="en-US" smtClean="0"/>
              <a:t>8/30/2024</a:t>
            </a:fld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4AE1AB-D1AF-46F0-8EBB-A4F3125693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5E5A3D1E-36A1-BD03-99DE-632C849C961D}"/>
              </a:ext>
            </a:extLst>
          </p:cNvPr>
          <p:cNvSpPr>
            <a:spLocks noGrp="1"/>
          </p:cNvSpPr>
          <p:nvPr>
            <p:ph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32B14BB5-B65E-911B-90CC-24954DE9420F}"/>
              </a:ext>
            </a:extLst>
          </p:cNvPr>
          <p:cNvSpPr>
            <a:spLocks noGrp="1"/>
          </p:cNvSpPr>
          <p:nvPr>
            <p:ph idx="12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999896B-A311-46F6-AA2F-6815559FD6E4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2928" t="3683" b="-1"/>
          <a:stretch/>
        </p:blipFill>
        <p:spPr>
          <a:xfrm>
            <a:off x="634367" y="1093136"/>
            <a:ext cx="4364886" cy="65537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9B2F4EDE-5D1C-4431-8ABD-D03E4DD9A45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8696" y="1863919"/>
            <a:ext cx="6226080" cy="1219306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4D625F33-0DD3-41AD-A640-8983EAF8559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06417" y="3372820"/>
            <a:ext cx="6096000" cy="640117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6BC51ADF-642D-461C-8E46-8712587E1A3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97" t="20007" r="6540" b="25771"/>
          <a:stretch/>
        </p:blipFill>
        <p:spPr bwMode="auto">
          <a:xfrm>
            <a:off x="155546" y="4012937"/>
            <a:ext cx="6143908" cy="21182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 descr="A group of logos on a white background&#10;&#10;Description automatically generated">
            <a:extLst>
              <a:ext uri="{FF2B5EF4-FFF2-40B4-BE49-F238E27FC236}">
                <a16:creationId xmlns:a16="http://schemas.microsoft.com/office/drawing/2014/main" id="{185EFCD4-5E2E-4864-B7F0-179508700EE6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13797" t="10944" r="14271" b="78590"/>
          <a:stretch/>
        </p:blipFill>
        <p:spPr>
          <a:xfrm>
            <a:off x="5085202" y="1090788"/>
            <a:ext cx="2617549" cy="512518"/>
          </a:xfrm>
          <a:prstGeom prst="rect">
            <a:avLst/>
          </a:prstGeom>
        </p:spPr>
      </p:pic>
      <p:pic>
        <p:nvPicPr>
          <p:cNvPr id="14" name="Picture 13" descr="A group of logos on a white background&#10;&#10;Description automatically generated">
            <a:extLst>
              <a:ext uri="{FF2B5EF4-FFF2-40B4-BE49-F238E27FC236}">
                <a16:creationId xmlns:a16="http://schemas.microsoft.com/office/drawing/2014/main" id="{1967DCD8-B2EF-4500-9EA2-683A21D3F5A2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13797" t="33980" r="14271"/>
          <a:stretch/>
        </p:blipFill>
        <p:spPr>
          <a:xfrm>
            <a:off x="6299454" y="2014106"/>
            <a:ext cx="2552413" cy="3209710"/>
          </a:xfrm>
          <a:prstGeom prst="rect">
            <a:avLst/>
          </a:prstGeom>
        </p:spPr>
      </p:pic>
      <p:pic>
        <p:nvPicPr>
          <p:cNvPr id="9" name="Picture 8" descr="A close-up of a logo&#10;&#10;Description automatically generated">
            <a:extLst>
              <a:ext uri="{FF2B5EF4-FFF2-40B4-BE49-F238E27FC236}">
                <a16:creationId xmlns:a16="http://schemas.microsoft.com/office/drawing/2014/main" id="{886CC373-CA2B-4BEA-9131-C1A9F6D5330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035980" y="1020219"/>
            <a:ext cx="2775019" cy="1033091"/>
          </a:xfrm>
          <a:prstGeom prst="rect">
            <a:avLst/>
          </a:prstGeom>
        </p:spPr>
      </p:pic>
      <p:pic>
        <p:nvPicPr>
          <p:cNvPr id="12" name="Picture 11" descr="A black text on a white background&#10;&#10;Description automatically generated">
            <a:extLst>
              <a:ext uri="{FF2B5EF4-FFF2-40B4-BE49-F238E27FC236}">
                <a16:creationId xmlns:a16="http://schemas.microsoft.com/office/drawing/2014/main" id="{BA8F4E60-9629-415B-8AFA-8FE33A736CE5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t="20083" r="-239" b="23700"/>
          <a:stretch/>
        </p:blipFill>
        <p:spPr>
          <a:xfrm>
            <a:off x="9244201" y="3632645"/>
            <a:ext cx="2481634" cy="727315"/>
          </a:xfrm>
          <a:prstGeom prst="rect">
            <a:avLst/>
          </a:prstGeom>
        </p:spPr>
      </p:pic>
      <p:pic>
        <p:nvPicPr>
          <p:cNvPr id="18" name="Picture 17" descr="A blue triangle with white arrows&#10;&#10;Description automatically generated">
            <a:extLst>
              <a:ext uri="{FF2B5EF4-FFF2-40B4-BE49-F238E27FC236}">
                <a16:creationId xmlns:a16="http://schemas.microsoft.com/office/drawing/2014/main" id="{367EC338-6233-4CDA-A692-5F42FDC895E8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l="26225" r="27472" b="-743"/>
          <a:stretch/>
        </p:blipFill>
        <p:spPr>
          <a:xfrm>
            <a:off x="9761055" y="2141617"/>
            <a:ext cx="1198017" cy="1362109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A275601C-A6CB-D536-41DE-61D4077A1C77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r="4201" b="3870"/>
          <a:stretch/>
        </p:blipFill>
        <p:spPr>
          <a:xfrm>
            <a:off x="9375125" y="4560737"/>
            <a:ext cx="2096728" cy="1236902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3A0F103E-1E63-5F5A-F333-6E48400AC549}"/>
              </a:ext>
            </a:extLst>
          </p:cNvPr>
          <p:cNvPicPr>
            <a:picLocks noChangeAspect="1"/>
          </p:cNvPicPr>
          <p:nvPr/>
        </p:nvPicPr>
        <p:blipFill rotWithShape="1">
          <a:blip r:embed="rId14"/>
          <a:srcRect l="5285" t="9261" r="5292" b="7370"/>
          <a:stretch/>
        </p:blipFill>
        <p:spPr>
          <a:xfrm>
            <a:off x="9461274" y="6009603"/>
            <a:ext cx="1797577" cy="630569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8E57446-8D72-0BB7-12F5-63208E970A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PE-GCS KICK-OFF MEETING 2024-202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444115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EC3885B-559A-A0CC-EBAF-A1662D15811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61140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0" imgH="350" progId="TCLayout.ActiveDocument.1">
                  <p:embed/>
                </p:oleObj>
              </mc:Choice>
              <mc:Fallback>
                <p:oleObj name="think-cell Slide" r:id="rId4" imgW="350" imgH="35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EC3885B-559A-A0CC-EBAF-A1662D1581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1A1B88B-3C81-3C9E-5C52-F277E04E78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9059" y="563033"/>
            <a:ext cx="9779183" cy="898783"/>
          </a:xfrm>
        </p:spPr>
        <p:txBody>
          <a:bodyPr vert="horz"/>
          <a:lstStyle/>
          <a:p>
            <a:r>
              <a:rPr lang="en-US" dirty="0"/>
              <a:t>Membership Status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991E8D5D-DF3A-92F8-6D50-DB0480688A55}"/>
              </a:ext>
            </a:extLst>
          </p:cNvPr>
          <p:cNvSpPr txBox="1">
            <a:spLocks/>
          </p:cNvSpPr>
          <p:nvPr/>
        </p:nvSpPr>
        <p:spPr>
          <a:xfrm>
            <a:off x="6424497" y="5471256"/>
            <a:ext cx="4959285" cy="12304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Total members number flat YOY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53DBF871-EFE4-3BC6-B958-37D0A293B846}"/>
              </a:ext>
            </a:extLst>
          </p:cNvPr>
          <p:cNvSpPr txBox="1">
            <a:spLocks/>
          </p:cNvSpPr>
          <p:nvPr/>
        </p:nvSpPr>
        <p:spPr>
          <a:xfrm>
            <a:off x="641977" y="5476240"/>
            <a:ext cx="5125527" cy="1230437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Number of members increased consistently each month throughout 2024, almost same number of members in July 2024 compared to July 2023</a:t>
            </a:r>
          </a:p>
        </p:txBody>
      </p:sp>
      <p:pic>
        <p:nvPicPr>
          <p:cNvPr id="6" name="Picture 5" descr="A graph of a number of months&#10;&#10;Description automatically generated with medium confidence">
            <a:extLst>
              <a:ext uri="{FF2B5EF4-FFF2-40B4-BE49-F238E27FC236}">
                <a16:creationId xmlns:a16="http://schemas.microsoft.com/office/drawing/2014/main" id="{223D80D1-22AE-1989-8F3B-83D86936BA5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88" y="1855674"/>
            <a:ext cx="6319125" cy="3620566"/>
          </a:xfrm>
          <a:prstGeom prst="rect">
            <a:avLst/>
          </a:prstGeom>
        </p:spPr>
      </p:pic>
      <p:pic>
        <p:nvPicPr>
          <p:cNvPr id="13" name="Picture 12" descr="A graph of a number of members&#10;&#10;Description automatically generated">
            <a:extLst>
              <a:ext uri="{FF2B5EF4-FFF2-40B4-BE49-F238E27FC236}">
                <a16:creationId xmlns:a16="http://schemas.microsoft.com/office/drawing/2014/main" id="{B85E3B0C-9A4F-4F1A-E975-3083E170F54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2165578"/>
            <a:ext cx="5834221" cy="3008588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1470AB85-3EBA-6D2A-F61A-48EC5842F722}"/>
              </a:ext>
            </a:extLst>
          </p:cNvPr>
          <p:cNvSpPr txBox="1"/>
          <p:nvPr/>
        </p:nvSpPr>
        <p:spPr>
          <a:xfrm>
            <a:off x="2836216" y="2263814"/>
            <a:ext cx="149066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8375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8355</a:t>
            </a: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928EA275-CFC5-6E47-7BF9-3A8880AE5597}"/>
              </a:ext>
            </a:extLst>
          </p:cNvPr>
          <p:cNvCxnSpPr>
            <a:cxnSpLocks/>
          </p:cNvCxnSpPr>
          <p:nvPr/>
        </p:nvCxnSpPr>
        <p:spPr>
          <a:xfrm>
            <a:off x="3171645" y="2617173"/>
            <a:ext cx="0" cy="253359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9B318892-730B-83C7-A16B-02F7C904D20C}"/>
              </a:ext>
            </a:extLst>
          </p:cNvPr>
          <p:cNvCxnSpPr>
            <a:cxnSpLocks/>
          </p:cNvCxnSpPr>
          <p:nvPr/>
        </p:nvCxnSpPr>
        <p:spPr>
          <a:xfrm flipH="1">
            <a:off x="3347845" y="2617173"/>
            <a:ext cx="233703" cy="214483"/>
          </a:xfrm>
          <a:prstGeom prst="straightConnector1">
            <a:avLst/>
          </a:prstGeom>
          <a:ln w="25400">
            <a:solidFill>
              <a:srgbClr val="92D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F5C813B-21C2-60CD-5A4B-6457052BBD6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C3B137D7-F791-49D8-816A-6FC0E5A78AB4}" type="datetime1">
              <a:rPr lang="en-US" smtClean="0"/>
              <a:t>8/30/2024</a:t>
            </a:fld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474AE2D8-9602-F3D8-B1C1-A8D34B364FC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94A09A9-5501-47C1-A89A-A340965A2BE2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66B4C294-AD98-265B-9C12-EB4E41526D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SPE-GCS KICK-OFF MEETING 2024-202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57157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MFIXED" val="TRU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MFIXED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Universal Color Block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0068FF"/>
      </a:accent1>
      <a:accent2>
        <a:srgbClr val="DAE5EF"/>
      </a:accent2>
      <a:accent3>
        <a:srgbClr val="637183"/>
      </a:accent3>
      <a:accent4>
        <a:srgbClr val="434E5E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75">
      <a:majorFont>
        <a:latin typeface="Tenorite"/>
        <a:ea typeface=""/>
        <a:cs typeface=""/>
      </a:majorFont>
      <a:minorFont>
        <a:latin typeface="Tenorit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niversal Color Block_Win32_AP_v2" id="{3EA4D81A-EBDE-431D-8B15-A5A6F500D5A4}" vid="{8EBF5489-0BE1-418D-A69C-2193D304C7E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Image xmlns="71af3243-3dd4-4a8d-8c0d-dd76da1f02a5">
      <Url xsi:nil="true"/>
      <Description xsi:nil="true"/>
    </Image>
    <Status xmlns="71af3243-3dd4-4a8d-8c0d-dd76da1f02a5">Not started</Status>
    <_ip_UnifiedCompliancePolicyProperties xmlns="http://schemas.microsoft.com/sharepoint/v3" xsi:nil="true"/>
    <ImageTagsTaxHTField xmlns="71af3243-3dd4-4a8d-8c0d-dd76da1f02a5">
      <Terms xmlns="http://schemas.microsoft.com/office/infopath/2007/PartnerControls"/>
    </ImageTagsTaxHTField>
    <TaxCatchAll xmlns="230e9df3-be65-4c73-a93b-d1236ebd677e"/>
    <MediaServiceKeyPoints xmlns="71af3243-3dd4-4a8d-8c0d-dd76da1f02a5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F111ED35F8CC479449609E8A0923A6" ma:contentTypeVersion="21" ma:contentTypeDescription="Create a new document." ma:contentTypeScope="" ma:versionID="64dfb1555687e0874b4304b796b5b0c7">
  <xsd:schema xmlns:xsd="http://www.w3.org/2001/XMLSchema" xmlns:xs="http://www.w3.org/2001/XMLSchema" xmlns:p="http://schemas.microsoft.com/office/2006/metadata/properties" xmlns:ns1="http://schemas.microsoft.com/sharepoint/v3" xmlns:ns2="71af3243-3dd4-4a8d-8c0d-dd76da1f02a5" xmlns:ns3="16c05727-aa75-4e4a-9b5f-8a80a1165891" xmlns:ns4="230e9df3-be65-4c73-a93b-d1236ebd677e" targetNamespace="http://schemas.microsoft.com/office/2006/metadata/properties" ma:root="true" ma:fieldsID="e6e4c555b5e194d05b7203de9c4567b3" ns1:_="" ns2:_="" ns3:_="" ns4:_="">
    <xsd:import namespace="http://schemas.microsoft.com/sharepoint/v3"/>
    <xsd:import namespace="71af3243-3dd4-4a8d-8c0d-dd76da1f02a5"/>
    <xsd:import namespace="16c05727-aa75-4e4a-9b5f-8a80a1165891"/>
    <xsd:import namespace="230e9df3-be65-4c73-a93b-d1236ebd677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CR" minOccurs="0"/>
                <xsd:element ref="ns2:MediaServiceAutoTags" minOccurs="0"/>
                <xsd:element ref="ns2:MediaServiceEventHashCode" minOccurs="0"/>
                <xsd:element ref="ns2:MediaServiceGenerationTim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Status" minOccurs="0"/>
                <xsd:element ref="ns1:_ip_UnifiedCompliancePolicyProperties" minOccurs="0"/>
                <xsd:element ref="ns1:_ip_UnifiedCompliancePolicyUIAction" minOccurs="0"/>
                <xsd:element ref="ns2:Image" minOccurs="0"/>
                <xsd:element ref="ns4:TaxCatchAll" minOccurs="0"/>
                <xsd:element ref="ns2:ImageTagsTaxHTField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0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1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af3243-3dd4-4a8d-8c0d-dd76da1f02a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0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fals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Status" ma:index="19" nillable="true" ma:displayName="Status" ma:default="Not started" ma:format="Dropdown" ma:internalName="Status">
      <xsd:simpleType>
        <xsd:restriction base="dms:Choice">
          <xsd:enumeration value="Not started"/>
          <xsd:enumeration value="In Progress"/>
          <xsd:enumeration value="Completed"/>
        </xsd:restriction>
      </xsd:simpleType>
    </xsd:element>
    <xsd:element name="Image" ma:index="22" nillable="true" ma:displayName="Image" ma:format="Image" ma:internalName="Imag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ImageTagsTaxHTField" ma:index="25" nillable="true" ma:taxonomy="true" ma:internalName="ImageTagsTaxHTField" ma:taxonomyFieldName="MediaServiceImageTags" ma:displayName="Image Tags" ma:readOnly="false" ma:fieldId="{5cf76f15-5ced-4ddc-b409-7134ff3c332f}" ma:taxonomyMulti="true" ma:sspId="e385fb40-52d4-4fae-9c5b-3e8ff8a5878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6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c05727-aa75-4e4a-9b5f-8a80a1165891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0e9df3-be65-4c73-a93b-d1236ebd677e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3f6bfcbc-3db3-4ae6-bd76-326f0798ad28}" ma:internalName="TaxCatchAll" ma:showField="CatchAllData" ma:web="16c05727-aa75-4e4a-9b5f-8a80a116589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D5BAB77-79E1-4739-AA51-10C9079186D6}">
  <ds:schemaRefs>
    <ds:schemaRef ds:uri="http://schemas.microsoft.com/office/infopath/2007/PartnerControls"/>
    <ds:schemaRef ds:uri="http://schemas.microsoft.com/office/2006/documentManagement/types"/>
    <ds:schemaRef ds:uri="http://schemas.microsoft.com/sharepoint/v3"/>
    <ds:schemaRef ds:uri="230e9df3-be65-4c73-a93b-d1236ebd677e"/>
    <ds:schemaRef ds:uri="http://purl.org/dc/terms/"/>
    <ds:schemaRef ds:uri="http://www.w3.org/XML/1998/namespace"/>
    <ds:schemaRef ds:uri="http://schemas.openxmlformats.org/package/2006/metadata/core-properties"/>
    <ds:schemaRef ds:uri="71af3243-3dd4-4a8d-8c0d-dd76da1f02a5"/>
    <ds:schemaRef ds:uri="16c05727-aa75-4e4a-9b5f-8a80a1165891"/>
    <ds:schemaRef ds:uri="http://schemas.microsoft.com/office/2006/metadata/properties"/>
    <ds:schemaRef ds:uri="http://purl.org/dc/dcmitype/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4A615295-94F6-4CE2-A1B1-6B7E1DAA5AD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71af3243-3dd4-4a8d-8c0d-dd76da1f02a5"/>
    <ds:schemaRef ds:uri="16c05727-aa75-4e4a-9b5f-8a80a1165891"/>
    <ds:schemaRef ds:uri="230e9df3-be65-4c73-a93b-d1236ebd677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5334180-0405-413B-834A-44FA9E05ADB7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d0cb1e24-a0e2-4a4c-9340-733297c9cd7c}" enabled="1" method="Privileged" siteId="{db1e96a8-a3da-442a-930b-235cac24cd5c}" removed="0"/>
  <clbl:label id="{f42aa342-8706-4288-bd11-ebb85995028c}" enabled="1" method="Standard" siteId="{72f988bf-86f1-41af-91ab-2d7cd011db4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{F55871E3-9E2D-49D4-B0BD-78DB5E8DB56C}tf45331398_win32</Template>
  <TotalTime>4148</TotalTime>
  <Words>3639</Words>
  <Application>Microsoft Office PowerPoint</Application>
  <PresentationFormat>Widescreen</PresentationFormat>
  <Paragraphs>714</Paragraphs>
  <Slides>40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0</vt:i4>
      </vt:variant>
    </vt:vector>
  </HeadingPairs>
  <TitlesOfParts>
    <vt:vector size="50" baseType="lpstr">
      <vt:lpstr>Amasis MT Pro Black</vt:lpstr>
      <vt:lpstr>Aptos</vt:lpstr>
      <vt:lpstr>Arial</vt:lpstr>
      <vt:lpstr>Calibri</vt:lpstr>
      <vt:lpstr>Courier New</vt:lpstr>
      <vt:lpstr>Tenorite</vt:lpstr>
      <vt:lpstr>Times New Roman</vt:lpstr>
      <vt:lpstr>Wingdings</vt:lpstr>
      <vt:lpstr>Office Theme</vt:lpstr>
      <vt:lpstr>think-cell Slide</vt:lpstr>
      <vt:lpstr>Kick off Meeting 2024-2025</vt:lpstr>
      <vt:lpstr>Agenda</vt:lpstr>
      <vt:lpstr>Hurricanes  </vt:lpstr>
      <vt:lpstr>Diversity, Equity and Inclusion : What's in a Name ? </vt:lpstr>
      <vt:lpstr>SPE Gulf Coast Section Overview</vt:lpstr>
      <vt:lpstr>PowerPoint Presentation</vt:lpstr>
      <vt:lpstr>2023 - 2024 Recap</vt:lpstr>
      <vt:lpstr>Thank you Sponsors and Venue Partners</vt:lpstr>
      <vt:lpstr>Membership Status</vt:lpstr>
      <vt:lpstr>Student Membership Status</vt:lpstr>
      <vt:lpstr>Meet the team</vt:lpstr>
      <vt:lpstr>2024-2025 Board</vt:lpstr>
      <vt:lpstr>Congratulations!!!</vt:lpstr>
      <vt:lpstr>SPE-GCS Goals : BoD</vt:lpstr>
      <vt:lpstr>Gulf Coast Section 2024-2025 Goals</vt:lpstr>
      <vt:lpstr>Gulf Coast Section 2024-2025 Goals</vt:lpstr>
      <vt:lpstr>Gulf Coast Section 2024-2025 Goals</vt:lpstr>
      <vt:lpstr>PowerPoint Presentation</vt:lpstr>
      <vt:lpstr>Gulf Coast Section 2024-2025 Goals</vt:lpstr>
      <vt:lpstr>Gulf Coast Section 2024-2025 Goals</vt:lpstr>
      <vt:lpstr>Gulf Coast Section 2023-2024 Goals</vt:lpstr>
      <vt:lpstr>Communications, Advertising and  Event Promotion</vt:lpstr>
      <vt:lpstr>Who to Contact to Promote Your Event</vt:lpstr>
      <vt:lpstr>Weekly Email Blast</vt:lpstr>
      <vt:lpstr>Individual Event Email Blast</vt:lpstr>
      <vt:lpstr>Social Media Posts</vt:lpstr>
      <vt:lpstr>Requesting Social Media Posts</vt:lpstr>
      <vt:lpstr>PowerPoint Presentation</vt:lpstr>
      <vt:lpstr>Available Resources</vt:lpstr>
      <vt:lpstr>Advertise with SPE-GCS : E-Newsletter</vt:lpstr>
      <vt:lpstr>Advertise with SPE-GCS Website</vt:lpstr>
      <vt:lpstr>Scholarship Endowment Fund</vt:lpstr>
      <vt:lpstr>SPE-GCS : August’24 Lookback</vt:lpstr>
      <vt:lpstr>PowerPoint Presentation</vt:lpstr>
      <vt:lpstr>15 Aug 2024 – Northside Study Group</vt:lpstr>
      <vt:lpstr>21 Aug 2024 – Poker Tournament BD Kick Off</vt:lpstr>
      <vt:lpstr>22 Aug 2024 – Computational Fluid Dynamics Annual Symposium</vt:lpstr>
      <vt:lpstr>Upcoming Events : September 2024</vt:lpstr>
      <vt:lpstr>PowerPoint Presentation</vt:lpstr>
      <vt:lpstr>Thank you</vt:lpstr>
    </vt:vector>
  </TitlesOfParts>
  <Company>DeGolyer and MacNaught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</dc:title>
  <dc:creator>Martinez, Alexsandra</dc:creator>
  <cp:lastModifiedBy>Kohli, Abhi SIEP-IUV/I/C</cp:lastModifiedBy>
  <cp:revision>45</cp:revision>
  <dcterms:created xsi:type="dcterms:W3CDTF">2023-08-14T14:23:19Z</dcterms:created>
  <dcterms:modified xsi:type="dcterms:W3CDTF">2024-08-30T19:20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9F111ED35F8CC479449609E8A0923A6</vt:lpwstr>
  </property>
</Properties>
</file>